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8" r:id="rId2"/>
  </p:sldMasterIdLst>
  <p:notesMasterIdLst>
    <p:notesMasterId r:id="rId16"/>
  </p:notesMasterIdLst>
  <p:sldIdLst>
    <p:sldId id="257" r:id="rId3"/>
    <p:sldId id="267" r:id="rId4"/>
    <p:sldId id="268" r:id="rId5"/>
    <p:sldId id="269" r:id="rId6"/>
    <p:sldId id="270" r:id="rId7"/>
    <p:sldId id="271" r:id="rId8"/>
    <p:sldId id="272" r:id="rId9"/>
    <p:sldId id="273" r:id="rId10"/>
    <p:sldId id="274" r:id="rId11"/>
    <p:sldId id="275" r:id="rId12"/>
    <p:sldId id="276" r:id="rId13"/>
    <p:sldId id="277" r:id="rId14"/>
    <p:sldId id="278" r:id="rId15"/>
  </p:sldIdLst>
  <p:sldSz cx="9144000" cy="6858000" type="screen4x3"/>
  <p:notesSz cx="6797675" cy="9926638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3" d="100"/>
          <a:sy n="103" d="100"/>
        </p:scale>
        <p:origin x="-1134" y="12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4AB0C7-2495-4297-8228-C911C73C8308}" type="datetimeFigureOut">
              <a:rPr lang="it-IT" smtClean="0"/>
              <a:t>08/08/2017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2E96CB-0C2E-4533-9E4A-DF88D58A23E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01528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pertina + Imm GI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12"/>
          <p:cNvSpPr/>
          <p:nvPr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9" name="Rettangolo 28"/>
          <p:cNvSpPr/>
          <p:nvPr/>
        </p:nvSpPr>
        <p:spPr>
          <a:xfrm>
            <a:off x="4877991" y="4105202"/>
            <a:ext cx="4000500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srgbClr val="706F6F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4878221" y="836613"/>
            <a:ext cx="4000500" cy="23876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it-IT" dirty="0"/>
              <a:t>TITOLO SEZIONE</a:t>
            </a:r>
          </a:p>
        </p:txBody>
      </p:sp>
      <p:sp>
        <p:nvSpPr>
          <p:cNvPr id="25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4878221" y="3582922"/>
            <a:ext cx="4000500" cy="646331"/>
          </a:xfrm>
          <a:prstGeom prst="rect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l">
              <a:buNone/>
              <a:defRPr sz="1800" b="1" cap="all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dirty="0"/>
              <a:t>SOTTOTITOLO</a:t>
            </a:r>
          </a:p>
        </p:txBody>
      </p:sp>
      <p:cxnSp>
        <p:nvCxnSpPr>
          <p:cNvPr id="26" name="Connettore diritto 25"/>
          <p:cNvCxnSpPr/>
          <p:nvPr/>
        </p:nvCxnSpPr>
        <p:spPr>
          <a:xfrm flipV="1">
            <a:off x="4586097" y="3351198"/>
            <a:ext cx="4000500" cy="14381"/>
          </a:xfrm>
          <a:prstGeom prst="line">
            <a:avLst/>
          </a:prstGeom>
          <a:ln w="2540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ttore diritto 26"/>
          <p:cNvCxnSpPr/>
          <p:nvPr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4877991" y="4321257"/>
            <a:ext cx="4000500" cy="7254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350" dirty="0" smtClean="0">
                <a:solidFill>
                  <a:schemeClr val="tx1"/>
                </a:solidFill>
              </a:defRPr>
            </a:lvl1pPr>
          </a:lstStyle>
          <a:p>
            <a:pPr marL="171450" lvl="0" indent="-171450"/>
            <a:r>
              <a:rPr lang="it-IT" dirty="0"/>
              <a:t>NOTE</a:t>
            </a:r>
          </a:p>
        </p:txBody>
      </p:sp>
      <p:sp>
        <p:nvSpPr>
          <p:cNvPr id="31" name="Segnaposto immagine 30"/>
          <p:cNvSpPr>
            <a:spLocks noGrp="1"/>
          </p:cNvSpPr>
          <p:nvPr>
            <p:ph type="pic" sz="quarter" idx="14"/>
          </p:nvPr>
        </p:nvSpPr>
        <p:spPr>
          <a:xfrm>
            <a:off x="-230" y="0"/>
            <a:ext cx="4572000" cy="6858000"/>
          </a:xfrm>
          <a:prstGeom prst="rect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700"/>
            </a:lvl1pPr>
          </a:lstStyle>
          <a:p>
            <a:r>
              <a:rPr lang="it-IT"/>
              <a:t>Fare clic sull'icona per inserire un'immagine</a:t>
            </a:r>
          </a:p>
        </p:txBody>
      </p:sp>
      <p:pic>
        <p:nvPicPr>
          <p:cNvPr id="17" name="Immagine 16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6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9" name="Rettangolo 18"/>
          <p:cNvSpPr/>
          <p:nvPr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0" name="Rettangolo 19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4" name="Rettangolo 13"/>
          <p:cNvSpPr/>
          <p:nvPr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6" name="Rettangolo 15"/>
          <p:cNvSpPr/>
          <p:nvPr/>
        </p:nvSpPr>
        <p:spPr>
          <a:xfrm>
            <a:off x="4877991" y="4105202"/>
            <a:ext cx="4000500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srgbClr val="706F6F"/>
              </a:solidFill>
            </a:endParaRPr>
          </a:p>
        </p:txBody>
      </p:sp>
      <p:cxnSp>
        <p:nvCxnSpPr>
          <p:cNvPr id="18" name="Connettore diritto 17"/>
          <p:cNvCxnSpPr/>
          <p:nvPr/>
        </p:nvCxnSpPr>
        <p:spPr>
          <a:xfrm flipV="1">
            <a:off x="4586097" y="3351198"/>
            <a:ext cx="4000500" cy="14381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ttore diritto 20"/>
          <p:cNvCxnSpPr/>
          <p:nvPr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Immagine 22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6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24" name="Rettangolo 23"/>
          <p:cNvSpPr/>
          <p:nvPr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0" name="Rettangolo 29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5" hasCustomPrompt="1"/>
          </p:nvPr>
        </p:nvSpPr>
        <p:spPr>
          <a:xfrm>
            <a:off x="6423996" y="6497638"/>
            <a:ext cx="2162605" cy="360362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675"/>
            </a:lvl1pPr>
            <a:lvl2pPr marL="342900" indent="0">
              <a:buNone/>
              <a:defRPr sz="600"/>
            </a:lvl2pPr>
            <a:lvl3pPr marL="685800" indent="0">
              <a:buNone/>
              <a:defRPr sz="525"/>
            </a:lvl3pPr>
            <a:lvl4pPr marL="1028700" indent="0">
              <a:buNone/>
              <a:defRPr sz="450"/>
            </a:lvl4pPr>
            <a:lvl5pPr marL="1371600" indent="0">
              <a:buNone/>
              <a:defRPr sz="450"/>
            </a:lvl5pPr>
          </a:lstStyle>
          <a:p>
            <a:pPr lvl="0"/>
            <a:r>
              <a:rPr lang="it-IT" dirty="0"/>
              <a:t>Struttura 1° livello - Struttura 2° livello - Struttura 3° livello </a:t>
            </a:r>
          </a:p>
        </p:txBody>
      </p:sp>
      <p:sp>
        <p:nvSpPr>
          <p:cNvPr id="32" name="Rettangolo 31"/>
          <p:cNvSpPr/>
          <p:nvPr userDrawn="1"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3" name="Rettangolo 32"/>
          <p:cNvSpPr/>
          <p:nvPr userDrawn="1"/>
        </p:nvSpPr>
        <p:spPr>
          <a:xfrm>
            <a:off x="4819342" y="4105202"/>
            <a:ext cx="4122295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srgbClr val="706F6F"/>
              </a:solidFill>
            </a:endParaRPr>
          </a:p>
        </p:txBody>
      </p:sp>
      <p:cxnSp>
        <p:nvCxnSpPr>
          <p:cNvPr id="34" name="Connettore diritto 33"/>
          <p:cNvCxnSpPr/>
          <p:nvPr userDrawn="1"/>
        </p:nvCxnSpPr>
        <p:spPr>
          <a:xfrm flipV="1">
            <a:off x="4586097" y="3351200"/>
            <a:ext cx="4000500" cy="14381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ttore diritto 34"/>
          <p:cNvCxnSpPr/>
          <p:nvPr userDrawn="1"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ttangolo 36"/>
          <p:cNvSpPr/>
          <p:nvPr userDrawn="1"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8" name="Rettangolo 37"/>
          <p:cNvSpPr/>
          <p:nvPr userDrawn="1"/>
        </p:nvSpPr>
        <p:spPr>
          <a:xfrm>
            <a:off x="8659606" y="6497638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39" name="Immagine 38" descr="PI_logo_o_RGB_p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5" y="6497638"/>
            <a:ext cx="1781708" cy="360362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54052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1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</p:spTree>
    <p:extLst>
      <p:ext uri="{BB962C8B-B14F-4D97-AF65-F5344CB8AC3E}">
        <p14:creationId xmlns:p14="http://schemas.microsoft.com/office/powerpoint/2010/main" val="4104368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>
          <a:xfrm>
            <a:off x="1" y="628650"/>
            <a:ext cx="9144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" name="Rettangolo 3"/>
          <p:cNvSpPr/>
          <p:nvPr/>
        </p:nvSpPr>
        <p:spPr>
          <a:xfrm>
            <a:off x="1" y="628650"/>
            <a:ext cx="9144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5" name="Rettangolo 4"/>
          <p:cNvSpPr/>
          <p:nvPr userDrawn="1"/>
        </p:nvSpPr>
        <p:spPr>
          <a:xfrm>
            <a:off x="1" y="628650"/>
            <a:ext cx="9144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1088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>
          <a:xfrm>
            <a:off x="8658418" y="6498217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Rettangolo 3"/>
          <p:cNvSpPr/>
          <p:nvPr/>
        </p:nvSpPr>
        <p:spPr>
          <a:xfrm>
            <a:off x="5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5" name="Immagine 4" descr="pi_rgb_nobkgd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7055" y="2854725"/>
            <a:ext cx="3009899" cy="810177"/>
          </a:xfrm>
          <a:prstGeom prst="rect">
            <a:avLst/>
          </a:prstGeom>
        </p:spPr>
      </p:pic>
      <p:pic>
        <p:nvPicPr>
          <p:cNvPr id="6" name="Immagine 5" descr="social_poste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089" y="3858047"/>
            <a:ext cx="1557826" cy="238646"/>
          </a:xfrm>
          <a:prstGeom prst="rect">
            <a:avLst/>
          </a:prstGeom>
        </p:spPr>
      </p:pic>
      <p:sp>
        <p:nvSpPr>
          <p:cNvPr id="8" name="Segnaposto testo 7"/>
          <p:cNvSpPr>
            <a:spLocks noGrp="1"/>
          </p:cNvSpPr>
          <p:nvPr>
            <p:ph type="body" sz="quarter" idx="11" hasCustomPrompt="1"/>
          </p:nvPr>
        </p:nvSpPr>
        <p:spPr>
          <a:xfrm>
            <a:off x="1762125" y="5588009"/>
            <a:ext cx="5619750" cy="525463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100" baseline="0"/>
            </a:lvl1pPr>
          </a:lstStyle>
          <a:p>
            <a:pPr lvl="0"/>
            <a:r>
              <a:rPr lang="it-IT" dirty="0"/>
              <a:t>Rispetta l’ambiente: NON MI STAMPARE </a:t>
            </a:r>
          </a:p>
        </p:txBody>
      </p:sp>
      <p:sp>
        <p:nvSpPr>
          <p:cNvPr id="9" name="Rettangolo 8"/>
          <p:cNvSpPr/>
          <p:nvPr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5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11" name="Immagine 10" descr="pi_rgb_nobkgd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7055" y="2854725"/>
            <a:ext cx="3009899" cy="810177"/>
          </a:xfrm>
          <a:prstGeom prst="rect">
            <a:avLst/>
          </a:prstGeom>
        </p:spPr>
      </p:pic>
      <p:pic>
        <p:nvPicPr>
          <p:cNvPr id="12" name="Immagine 11" descr="social_poste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089" y="3858047"/>
            <a:ext cx="1557826" cy="238646"/>
          </a:xfrm>
          <a:prstGeom prst="rect">
            <a:avLst/>
          </a:prstGeom>
        </p:spPr>
      </p:pic>
      <p:sp>
        <p:nvSpPr>
          <p:cNvPr id="13" name="Rettangolo 12"/>
          <p:cNvSpPr/>
          <p:nvPr userDrawn="1"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4" name="Rettangolo 13"/>
          <p:cNvSpPr/>
          <p:nvPr userDrawn="1"/>
        </p:nvSpPr>
        <p:spPr>
          <a:xfrm>
            <a:off x="6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15" name="Immagine 14" descr="pi_rgb_nobkgd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3627" y="2780357"/>
            <a:ext cx="4076753" cy="812902"/>
          </a:xfrm>
          <a:prstGeom prst="rect">
            <a:avLst/>
          </a:prstGeom>
        </p:spPr>
      </p:pic>
      <p:pic>
        <p:nvPicPr>
          <p:cNvPr id="16" name="Immagine 15" descr="social_poste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7134" y="3783686"/>
            <a:ext cx="2109730" cy="239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497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pertina + Imm GI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12"/>
          <p:cNvSpPr/>
          <p:nvPr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9" name="Rettangolo 28"/>
          <p:cNvSpPr/>
          <p:nvPr/>
        </p:nvSpPr>
        <p:spPr>
          <a:xfrm>
            <a:off x="4877991" y="4105202"/>
            <a:ext cx="4000500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srgbClr val="706F6F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4878221" y="836613"/>
            <a:ext cx="4000500" cy="23876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it-IT" dirty="0"/>
              <a:t>TITOLO SEZIONE</a:t>
            </a:r>
          </a:p>
        </p:txBody>
      </p:sp>
      <p:sp>
        <p:nvSpPr>
          <p:cNvPr id="25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4878221" y="3582922"/>
            <a:ext cx="4000500" cy="646331"/>
          </a:xfrm>
          <a:prstGeom prst="rect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l">
              <a:buNone/>
              <a:defRPr sz="1800" b="1" cap="all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dirty="0"/>
              <a:t>SOTTOTITOLO</a:t>
            </a:r>
          </a:p>
        </p:txBody>
      </p:sp>
      <p:cxnSp>
        <p:nvCxnSpPr>
          <p:cNvPr id="26" name="Connettore diritto 25"/>
          <p:cNvCxnSpPr/>
          <p:nvPr/>
        </p:nvCxnSpPr>
        <p:spPr>
          <a:xfrm flipV="1">
            <a:off x="4586097" y="3351198"/>
            <a:ext cx="4000500" cy="14381"/>
          </a:xfrm>
          <a:prstGeom prst="line">
            <a:avLst/>
          </a:prstGeom>
          <a:ln w="2540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ttore diritto 26"/>
          <p:cNvCxnSpPr/>
          <p:nvPr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4877991" y="4321257"/>
            <a:ext cx="4000500" cy="7254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350" dirty="0" smtClean="0">
                <a:solidFill>
                  <a:schemeClr val="tx1"/>
                </a:solidFill>
              </a:defRPr>
            </a:lvl1pPr>
          </a:lstStyle>
          <a:p>
            <a:pPr marL="171450" lvl="0" indent="-171450"/>
            <a:r>
              <a:rPr lang="it-IT" dirty="0"/>
              <a:t>NOTE</a:t>
            </a:r>
          </a:p>
        </p:txBody>
      </p:sp>
      <p:sp>
        <p:nvSpPr>
          <p:cNvPr id="31" name="Segnaposto immagine 30"/>
          <p:cNvSpPr>
            <a:spLocks noGrp="1"/>
          </p:cNvSpPr>
          <p:nvPr>
            <p:ph type="pic" sz="quarter" idx="14"/>
          </p:nvPr>
        </p:nvSpPr>
        <p:spPr>
          <a:xfrm>
            <a:off x="-230" y="0"/>
            <a:ext cx="4572000" cy="6858000"/>
          </a:xfrm>
          <a:prstGeom prst="rect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700"/>
            </a:lvl1pPr>
          </a:lstStyle>
          <a:p>
            <a:r>
              <a:rPr lang="it-IT"/>
              <a:t>Fare clic sull'icona per inserire un'immagine</a:t>
            </a:r>
          </a:p>
        </p:txBody>
      </p:sp>
      <p:pic>
        <p:nvPicPr>
          <p:cNvPr id="17" name="Immagine 16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6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9" name="Rettangolo 18"/>
          <p:cNvSpPr/>
          <p:nvPr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0" name="Rettangolo 19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4" name="Rettangolo 13"/>
          <p:cNvSpPr/>
          <p:nvPr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6" name="Rettangolo 15"/>
          <p:cNvSpPr/>
          <p:nvPr/>
        </p:nvSpPr>
        <p:spPr>
          <a:xfrm>
            <a:off x="4877991" y="4105202"/>
            <a:ext cx="4000500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srgbClr val="706F6F"/>
              </a:solidFill>
            </a:endParaRPr>
          </a:p>
        </p:txBody>
      </p:sp>
      <p:cxnSp>
        <p:nvCxnSpPr>
          <p:cNvPr id="18" name="Connettore diritto 17"/>
          <p:cNvCxnSpPr/>
          <p:nvPr/>
        </p:nvCxnSpPr>
        <p:spPr>
          <a:xfrm flipV="1">
            <a:off x="4586097" y="3351198"/>
            <a:ext cx="4000500" cy="14381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ttore diritto 20"/>
          <p:cNvCxnSpPr/>
          <p:nvPr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Immagine 22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6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24" name="Rettangolo 23"/>
          <p:cNvSpPr/>
          <p:nvPr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0" name="Rettangolo 29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5" hasCustomPrompt="1"/>
          </p:nvPr>
        </p:nvSpPr>
        <p:spPr>
          <a:xfrm>
            <a:off x="6423996" y="6497638"/>
            <a:ext cx="2162605" cy="360362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675"/>
            </a:lvl1pPr>
            <a:lvl2pPr marL="342900" indent="0">
              <a:buNone/>
              <a:defRPr sz="600"/>
            </a:lvl2pPr>
            <a:lvl3pPr marL="685800" indent="0">
              <a:buNone/>
              <a:defRPr sz="525"/>
            </a:lvl3pPr>
            <a:lvl4pPr marL="1028700" indent="0">
              <a:buNone/>
              <a:defRPr sz="450"/>
            </a:lvl4pPr>
            <a:lvl5pPr marL="1371600" indent="0">
              <a:buNone/>
              <a:defRPr sz="450"/>
            </a:lvl5pPr>
          </a:lstStyle>
          <a:p>
            <a:pPr lvl="0"/>
            <a:r>
              <a:rPr lang="it-IT" dirty="0"/>
              <a:t>Struttura 1° livello - Struttura 2° livello - Struttura 3° livello </a:t>
            </a:r>
          </a:p>
        </p:txBody>
      </p:sp>
      <p:sp>
        <p:nvSpPr>
          <p:cNvPr id="32" name="Rettangolo 31"/>
          <p:cNvSpPr/>
          <p:nvPr userDrawn="1"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3" name="Rettangolo 32"/>
          <p:cNvSpPr/>
          <p:nvPr userDrawn="1"/>
        </p:nvSpPr>
        <p:spPr>
          <a:xfrm>
            <a:off x="4819342" y="4105202"/>
            <a:ext cx="4122295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srgbClr val="706F6F"/>
              </a:solidFill>
            </a:endParaRPr>
          </a:p>
        </p:txBody>
      </p:sp>
      <p:cxnSp>
        <p:nvCxnSpPr>
          <p:cNvPr id="34" name="Connettore diritto 33"/>
          <p:cNvCxnSpPr/>
          <p:nvPr userDrawn="1"/>
        </p:nvCxnSpPr>
        <p:spPr>
          <a:xfrm flipV="1">
            <a:off x="4586097" y="3351200"/>
            <a:ext cx="4000500" cy="14381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ttore diritto 34"/>
          <p:cNvCxnSpPr/>
          <p:nvPr userDrawn="1"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ttangolo 36"/>
          <p:cNvSpPr/>
          <p:nvPr userDrawn="1"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8" name="Rettangolo 37"/>
          <p:cNvSpPr/>
          <p:nvPr userDrawn="1"/>
        </p:nvSpPr>
        <p:spPr>
          <a:xfrm>
            <a:off x="8659606" y="6497638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39" name="Immagine 38" descr="PI_logo_o_RGB_p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5" y="6497638"/>
            <a:ext cx="1781708" cy="360362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561650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pertina GI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ttangolo 24"/>
          <p:cNvSpPr/>
          <p:nvPr/>
        </p:nvSpPr>
        <p:spPr>
          <a:xfrm>
            <a:off x="366735" y="3557228"/>
            <a:ext cx="7169663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706F6F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66735" y="810926"/>
            <a:ext cx="7169663" cy="2387600"/>
          </a:xfrm>
        </p:spPr>
        <p:txBody>
          <a:bodyPr anchor="b">
            <a:noAutofit/>
          </a:bodyPr>
          <a:lstStyle>
            <a:lvl1pPr algn="l"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66735" y="3557231"/>
            <a:ext cx="7169663" cy="64633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>
              <a:buNone/>
              <a:defRPr sz="1800" b="1" cap="all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dirty="0"/>
              <a:t>sottotitolo</a:t>
            </a:r>
          </a:p>
        </p:txBody>
      </p:sp>
      <p:cxnSp>
        <p:nvCxnSpPr>
          <p:cNvPr id="17" name="Connettore diritto 16"/>
          <p:cNvCxnSpPr/>
          <p:nvPr/>
        </p:nvCxnSpPr>
        <p:spPr>
          <a:xfrm>
            <a:off x="366735" y="3465226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diritto 17"/>
          <p:cNvCxnSpPr/>
          <p:nvPr/>
        </p:nvCxnSpPr>
        <p:spPr>
          <a:xfrm>
            <a:off x="366735" y="5113051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366506" y="4295570"/>
            <a:ext cx="7169663" cy="72548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350" dirty="0" smtClean="0">
                <a:solidFill>
                  <a:schemeClr val="tx1"/>
                </a:solidFill>
              </a:defRPr>
            </a:lvl1pPr>
          </a:lstStyle>
          <a:p>
            <a:pPr marL="171450" lvl="0" indent="-171450"/>
            <a:r>
              <a:rPr lang="it-IT" dirty="0"/>
              <a:t>NOTE</a:t>
            </a:r>
          </a:p>
        </p:txBody>
      </p:sp>
      <p:cxnSp>
        <p:nvCxnSpPr>
          <p:cNvPr id="26" name="Connettore diritto 25"/>
          <p:cNvCxnSpPr/>
          <p:nvPr/>
        </p:nvCxnSpPr>
        <p:spPr>
          <a:xfrm>
            <a:off x="-1" y="3304055"/>
            <a:ext cx="8586598" cy="0"/>
          </a:xfrm>
          <a:prstGeom prst="line">
            <a:avLst/>
          </a:prstGeom>
          <a:ln w="50800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ttangolo 33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35" name="Immagine 34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37" name="Rettangolo 36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14" name="Connettore diritto 13"/>
          <p:cNvCxnSpPr/>
          <p:nvPr/>
        </p:nvCxnSpPr>
        <p:spPr>
          <a:xfrm>
            <a:off x="8658417" y="330405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ttangolo 14"/>
          <p:cNvSpPr/>
          <p:nvPr/>
        </p:nvSpPr>
        <p:spPr>
          <a:xfrm>
            <a:off x="366735" y="3557228"/>
            <a:ext cx="7169663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706F6F"/>
              </a:solidFill>
            </a:endParaRPr>
          </a:p>
        </p:txBody>
      </p:sp>
      <p:cxnSp>
        <p:nvCxnSpPr>
          <p:cNvPr id="16" name="Connettore diritto 15"/>
          <p:cNvCxnSpPr/>
          <p:nvPr/>
        </p:nvCxnSpPr>
        <p:spPr>
          <a:xfrm>
            <a:off x="366735" y="3465226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ttore diritto 18"/>
          <p:cNvCxnSpPr/>
          <p:nvPr/>
        </p:nvCxnSpPr>
        <p:spPr>
          <a:xfrm>
            <a:off x="366735" y="5113051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ttore diritto 19"/>
          <p:cNvCxnSpPr/>
          <p:nvPr/>
        </p:nvCxnSpPr>
        <p:spPr>
          <a:xfrm>
            <a:off x="-1" y="3304055"/>
            <a:ext cx="8586598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ttangolo 20"/>
          <p:cNvSpPr/>
          <p:nvPr/>
        </p:nvSpPr>
        <p:spPr>
          <a:xfrm>
            <a:off x="2397570" y="6498218"/>
            <a:ext cx="6189028" cy="3597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2" name="Rettangolo 21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23" name="Immagine 22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27" name="Rettangolo 26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29" name="Connettore diritto 28"/>
          <p:cNvCxnSpPr/>
          <p:nvPr/>
        </p:nvCxnSpPr>
        <p:spPr>
          <a:xfrm>
            <a:off x="8658417" y="330405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Segnaposto testo 3"/>
          <p:cNvSpPr>
            <a:spLocks noGrp="1"/>
          </p:cNvSpPr>
          <p:nvPr>
            <p:ph type="body" sz="quarter" idx="15" hasCustomPrompt="1"/>
          </p:nvPr>
        </p:nvSpPr>
        <p:spPr>
          <a:xfrm>
            <a:off x="2397570" y="6497638"/>
            <a:ext cx="6189218" cy="360362"/>
          </a:xfrm>
        </p:spPr>
        <p:txBody>
          <a:bodyPr anchor="ctr">
            <a:noAutofit/>
          </a:bodyPr>
          <a:lstStyle>
            <a:lvl1pPr marL="0" indent="0">
              <a:buNone/>
              <a:defRPr sz="675"/>
            </a:lvl1pPr>
            <a:lvl2pPr marL="342900" indent="0">
              <a:buNone/>
              <a:defRPr sz="600"/>
            </a:lvl2pPr>
            <a:lvl3pPr marL="685800" indent="0">
              <a:buNone/>
              <a:defRPr sz="525"/>
            </a:lvl3pPr>
            <a:lvl4pPr marL="1028700" indent="0">
              <a:buNone/>
              <a:defRPr sz="450"/>
            </a:lvl4pPr>
            <a:lvl5pPr marL="1371600" indent="0">
              <a:buNone/>
              <a:defRPr sz="450"/>
            </a:lvl5pPr>
          </a:lstStyle>
          <a:p>
            <a:pPr lvl="0"/>
            <a:r>
              <a:rPr lang="it-IT" dirty="0"/>
              <a:t>Struttura 1° livello - Struttura 2° livello - Struttura 3° livello </a:t>
            </a:r>
          </a:p>
        </p:txBody>
      </p:sp>
      <p:sp>
        <p:nvSpPr>
          <p:cNvPr id="31" name="Rettangolo 30"/>
          <p:cNvSpPr/>
          <p:nvPr userDrawn="1"/>
        </p:nvSpPr>
        <p:spPr>
          <a:xfrm>
            <a:off x="366735" y="3557228"/>
            <a:ext cx="7169663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706F6F"/>
              </a:solidFill>
            </a:endParaRPr>
          </a:p>
        </p:txBody>
      </p:sp>
      <p:cxnSp>
        <p:nvCxnSpPr>
          <p:cNvPr id="32" name="Connettore diritto 31"/>
          <p:cNvCxnSpPr/>
          <p:nvPr userDrawn="1"/>
        </p:nvCxnSpPr>
        <p:spPr>
          <a:xfrm>
            <a:off x="366735" y="3465226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ttore diritto 35"/>
          <p:cNvCxnSpPr/>
          <p:nvPr userDrawn="1"/>
        </p:nvCxnSpPr>
        <p:spPr>
          <a:xfrm>
            <a:off x="366735" y="5113051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ttore diritto 38"/>
          <p:cNvCxnSpPr/>
          <p:nvPr userDrawn="1"/>
        </p:nvCxnSpPr>
        <p:spPr>
          <a:xfrm>
            <a:off x="-1" y="3304055"/>
            <a:ext cx="8586598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ttangolo 39"/>
          <p:cNvSpPr/>
          <p:nvPr userDrawn="1"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1" name="Rettangolo 40"/>
          <p:cNvSpPr/>
          <p:nvPr userDrawn="1"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43" name="Connettore diritto 42"/>
          <p:cNvCxnSpPr/>
          <p:nvPr userDrawn="1"/>
        </p:nvCxnSpPr>
        <p:spPr>
          <a:xfrm>
            <a:off x="8658417" y="330405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Immagine 43" descr="PI_logo_o_RGB_p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2" y="6497638"/>
            <a:ext cx="1781708" cy="357988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4" name="Segnaposto numero diapositiva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7412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magine Pagina Inte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000" baseline="0"/>
            </a:lvl1pPr>
          </a:lstStyle>
          <a:p>
            <a:r>
              <a:rPr lang="it-IT" dirty="0"/>
              <a:t>IMMAGINE A PAGINA INTERA</a:t>
            </a:r>
          </a:p>
          <a:p>
            <a:r>
              <a:rPr lang="it-IT" dirty="0"/>
              <a:t>Cliccare per inserire</a:t>
            </a:r>
          </a:p>
        </p:txBody>
      </p:sp>
    </p:spTree>
    <p:extLst>
      <p:ext uri="{BB962C8B-B14F-4D97-AF65-F5344CB8AC3E}">
        <p14:creationId xmlns:p14="http://schemas.microsoft.com/office/powerpoint/2010/main" val="3924183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STD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7942824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87582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4"/>
          </p:nvPr>
        </p:nvSpPr>
        <p:spPr>
          <a:xfrm>
            <a:off x="278608" y="1016004"/>
            <a:ext cx="8586788" cy="5097463"/>
          </a:xfrm>
          <a:prstGeom prst="rect">
            <a:avLst/>
          </a:prstGeom>
          <a:ln w="25400" cap="rnd">
            <a:noFill/>
          </a:ln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707173"/>
              </a:buClr>
              <a:defRPr lang="it-IT" sz="1500" dirty="0" smtClean="0"/>
            </a:lvl1pPr>
            <a:lvl2pPr>
              <a:buClr>
                <a:srgbClr val="707173"/>
              </a:buClr>
              <a:defRPr lang="it-IT" sz="1350" dirty="0" smtClean="0"/>
            </a:lvl2pPr>
            <a:lvl3pPr marL="807244" indent="-121444">
              <a:buClr>
                <a:srgbClr val="707173"/>
              </a:buClr>
              <a:defRPr lang="it-IT" sz="1200" dirty="0" smtClean="0"/>
            </a:lvl3pPr>
            <a:lvl4pPr marL="1143000" indent="-114300">
              <a:buClr>
                <a:srgbClr val="707173"/>
              </a:buClr>
              <a:defRPr lang="it-IT" sz="1050" dirty="0" smtClean="0"/>
            </a:lvl4pPr>
            <a:lvl5pPr marL="1478756" indent="-107156">
              <a:buClr>
                <a:srgbClr val="707173"/>
              </a:buClr>
              <a:defRPr lang="it-IT" sz="1050" dirty="0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25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</p:spTree>
    <p:extLst>
      <p:ext uri="{BB962C8B-B14F-4D97-AF65-F5344CB8AC3E}">
        <p14:creationId xmlns:p14="http://schemas.microsoft.com/office/powerpoint/2010/main" val="2023838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STD Testo 2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5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24"/>
          </p:nvPr>
        </p:nvSpPr>
        <p:spPr>
          <a:xfrm>
            <a:off x="278606" y="1016004"/>
            <a:ext cx="4221956" cy="509746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25"/>
          </p:nvPr>
        </p:nvSpPr>
        <p:spPr>
          <a:xfrm>
            <a:off x="4643438" y="1016004"/>
            <a:ext cx="4221956" cy="509746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194433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sto + Imm. d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egnaposto immagine 26"/>
          <p:cNvSpPr>
            <a:spLocks noGrp="1"/>
          </p:cNvSpPr>
          <p:nvPr>
            <p:ph type="pic" sz="quarter" idx="16"/>
          </p:nvPr>
        </p:nvSpPr>
        <p:spPr>
          <a:xfrm>
            <a:off x="4643441" y="1016004"/>
            <a:ext cx="4195763" cy="509746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vert="horz" lIns="0" tIns="45720" rIns="0" bIns="45720" rtlCol="0" anchor="t">
            <a:normAutofit/>
          </a:bodyPr>
          <a:lstStyle>
            <a:lvl1pPr marL="0" indent="0" algn="l">
              <a:buNone/>
              <a:defRPr lang="it-IT"/>
            </a:lvl1pPr>
          </a:lstStyle>
          <a:p>
            <a:pPr lvl="0"/>
            <a:r>
              <a:rPr lang="it-IT"/>
              <a:t>Fare clic sull'icona per inserire un'immagine</a:t>
            </a:r>
            <a:endParaRPr lang="it-IT" dirty="0"/>
          </a:p>
        </p:txBody>
      </p:sp>
      <p:sp>
        <p:nvSpPr>
          <p:cNvPr id="20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21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278606" y="2066925"/>
            <a:ext cx="4221956" cy="30384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433746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sto + Imm. s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egnaposto immagine 14"/>
          <p:cNvSpPr>
            <a:spLocks noGrp="1"/>
          </p:cNvSpPr>
          <p:nvPr>
            <p:ph type="pic" sz="quarter" idx="16"/>
          </p:nvPr>
        </p:nvSpPr>
        <p:spPr>
          <a:xfrm>
            <a:off x="278606" y="1016004"/>
            <a:ext cx="4221956" cy="509746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anchor="t"/>
          <a:lstStyle>
            <a:lvl1pPr marL="0" indent="0" algn="l">
              <a:buNone/>
              <a:defRPr/>
            </a:lvl1pPr>
          </a:lstStyle>
          <a:p>
            <a:r>
              <a:rPr lang="it-IT"/>
              <a:t>Fare clic sull'icona per inserire un'immagine</a:t>
            </a:r>
            <a:endParaRPr lang="it-IT" dirty="0"/>
          </a:p>
        </p:txBody>
      </p:sp>
      <p:sp>
        <p:nvSpPr>
          <p:cNvPr id="14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6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4643438" y="2076449"/>
            <a:ext cx="4221956" cy="2905125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745705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pertina GI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ttangolo 24"/>
          <p:cNvSpPr/>
          <p:nvPr/>
        </p:nvSpPr>
        <p:spPr>
          <a:xfrm>
            <a:off x="366735" y="3557228"/>
            <a:ext cx="7169663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706F6F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66735" y="810926"/>
            <a:ext cx="7169663" cy="2387600"/>
          </a:xfrm>
        </p:spPr>
        <p:txBody>
          <a:bodyPr anchor="b">
            <a:noAutofit/>
          </a:bodyPr>
          <a:lstStyle>
            <a:lvl1pPr algn="l"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66735" y="3557231"/>
            <a:ext cx="7169663" cy="64633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>
              <a:buNone/>
              <a:defRPr sz="1800" b="1" cap="all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dirty="0"/>
              <a:t>sottotitolo</a:t>
            </a:r>
          </a:p>
        </p:txBody>
      </p:sp>
      <p:cxnSp>
        <p:nvCxnSpPr>
          <p:cNvPr id="17" name="Connettore diritto 16"/>
          <p:cNvCxnSpPr/>
          <p:nvPr/>
        </p:nvCxnSpPr>
        <p:spPr>
          <a:xfrm>
            <a:off x="366735" y="3465226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diritto 17"/>
          <p:cNvCxnSpPr/>
          <p:nvPr/>
        </p:nvCxnSpPr>
        <p:spPr>
          <a:xfrm>
            <a:off x="366735" y="5113051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366506" y="4295570"/>
            <a:ext cx="7169663" cy="72548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350" dirty="0" smtClean="0">
                <a:solidFill>
                  <a:schemeClr val="tx1"/>
                </a:solidFill>
              </a:defRPr>
            </a:lvl1pPr>
          </a:lstStyle>
          <a:p>
            <a:pPr marL="171450" lvl="0" indent="-171450"/>
            <a:r>
              <a:rPr lang="it-IT" dirty="0"/>
              <a:t>NOTE</a:t>
            </a:r>
          </a:p>
        </p:txBody>
      </p:sp>
      <p:cxnSp>
        <p:nvCxnSpPr>
          <p:cNvPr id="26" name="Connettore diritto 25"/>
          <p:cNvCxnSpPr/>
          <p:nvPr/>
        </p:nvCxnSpPr>
        <p:spPr>
          <a:xfrm>
            <a:off x="-1" y="3304055"/>
            <a:ext cx="8586598" cy="0"/>
          </a:xfrm>
          <a:prstGeom prst="line">
            <a:avLst/>
          </a:prstGeom>
          <a:ln w="50800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ttangolo 33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35" name="Immagine 34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37" name="Rettangolo 36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14" name="Connettore diritto 13"/>
          <p:cNvCxnSpPr/>
          <p:nvPr/>
        </p:nvCxnSpPr>
        <p:spPr>
          <a:xfrm>
            <a:off x="8658417" y="330405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ttangolo 14"/>
          <p:cNvSpPr/>
          <p:nvPr/>
        </p:nvSpPr>
        <p:spPr>
          <a:xfrm>
            <a:off x="366735" y="3557228"/>
            <a:ext cx="7169663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706F6F"/>
              </a:solidFill>
            </a:endParaRPr>
          </a:p>
        </p:txBody>
      </p:sp>
      <p:cxnSp>
        <p:nvCxnSpPr>
          <p:cNvPr id="16" name="Connettore diritto 15"/>
          <p:cNvCxnSpPr/>
          <p:nvPr/>
        </p:nvCxnSpPr>
        <p:spPr>
          <a:xfrm>
            <a:off x="366735" y="3465226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ttore diritto 18"/>
          <p:cNvCxnSpPr/>
          <p:nvPr/>
        </p:nvCxnSpPr>
        <p:spPr>
          <a:xfrm>
            <a:off x="366735" y="5113051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ttore diritto 19"/>
          <p:cNvCxnSpPr/>
          <p:nvPr/>
        </p:nvCxnSpPr>
        <p:spPr>
          <a:xfrm>
            <a:off x="-1" y="3304055"/>
            <a:ext cx="8586598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ttangolo 20"/>
          <p:cNvSpPr/>
          <p:nvPr/>
        </p:nvSpPr>
        <p:spPr>
          <a:xfrm>
            <a:off x="2397570" y="6498218"/>
            <a:ext cx="6189028" cy="3597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2" name="Rettangolo 21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23" name="Immagine 22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27" name="Rettangolo 26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29" name="Connettore diritto 28"/>
          <p:cNvCxnSpPr/>
          <p:nvPr/>
        </p:nvCxnSpPr>
        <p:spPr>
          <a:xfrm>
            <a:off x="8658417" y="330405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Segnaposto testo 3"/>
          <p:cNvSpPr>
            <a:spLocks noGrp="1"/>
          </p:cNvSpPr>
          <p:nvPr>
            <p:ph type="body" sz="quarter" idx="15" hasCustomPrompt="1"/>
          </p:nvPr>
        </p:nvSpPr>
        <p:spPr>
          <a:xfrm>
            <a:off x="2397570" y="6497638"/>
            <a:ext cx="6189218" cy="360362"/>
          </a:xfrm>
        </p:spPr>
        <p:txBody>
          <a:bodyPr anchor="ctr">
            <a:noAutofit/>
          </a:bodyPr>
          <a:lstStyle>
            <a:lvl1pPr marL="0" indent="0">
              <a:buNone/>
              <a:defRPr sz="675"/>
            </a:lvl1pPr>
            <a:lvl2pPr marL="342900" indent="0">
              <a:buNone/>
              <a:defRPr sz="600"/>
            </a:lvl2pPr>
            <a:lvl3pPr marL="685800" indent="0">
              <a:buNone/>
              <a:defRPr sz="525"/>
            </a:lvl3pPr>
            <a:lvl4pPr marL="1028700" indent="0">
              <a:buNone/>
              <a:defRPr sz="450"/>
            </a:lvl4pPr>
            <a:lvl5pPr marL="1371600" indent="0">
              <a:buNone/>
              <a:defRPr sz="450"/>
            </a:lvl5pPr>
          </a:lstStyle>
          <a:p>
            <a:pPr lvl="0"/>
            <a:r>
              <a:rPr lang="it-IT" dirty="0"/>
              <a:t>Struttura 1° livello - Struttura 2° livello - Struttura 3° livello </a:t>
            </a:r>
          </a:p>
        </p:txBody>
      </p:sp>
      <p:sp>
        <p:nvSpPr>
          <p:cNvPr id="31" name="Rettangolo 30"/>
          <p:cNvSpPr/>
          <p:nvPr userDrawn="1"/>
        </p:nvSpPr>
        <p:spPr>
          <a:xfrm>
            <a:off x="366735" y="3557228"/>
            <a:ext cx="7169663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706F6F"/>
              </a:solidFill>
            </a:endParaRPr>
          </a:p>
        </p:txBody>
      </p:sp>
      <p:cxnSp>
        <p:nvCxnSpPr>
          <p:cNvPr id="32" name="Connettore diritto 31"/>
          <p:cNvCxnSpPr/>
          <p:nvPr userDrawn="1"/>
        </p:nvCxnSpPr>
        <p:spPr>
          <a:xfrm>
            <a:off x="366735" y="3465226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ttore diritto 35"/>
          <p:cNvCxnSpPr/>
          <p:nvPr userDrawn="1"/>
        </p:nvCxnSpPr>
        <p:spPr>
          <a:xfrm>
            <a:off x="366735" y="5113051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ttore diritto 38"/>
          <p:cNvCxnSpPr/>
          <p:nvPr userDrawn="1"/>
        </p:nvCxnSpPr>
        <p:spPr>
          <a:xfrm>
            <a:off x="-1" y="3304055"/>
            <a:ext cx="8586598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ttangolo 39"/>
          <p:cNvSpPr/>
          <p:nvPr userDrawn="1"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1" name="Rettangolo 40"/>
          <p:cNvSpPr/>
          <p:nvPr userDrawn="1"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43" name="Connettore diritto 42"/>
          <p:cNvCxnSpPr/>
          <p:nvPr userDrawn="1"/>
        </p:nvCxnSpPr>
        <p:spPr>
          <a:xfrm>
            <a:off x="8658417" y="330405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Immagine 43" descr="PI_logo_o_RGB_p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2" y="6497638"/>
            <a:ext cx="1781708" cy="357988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4" name="Segnaposto numero diapositiva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190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GRAFICO +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egnaposto grafico 14"/>
          <p:cNvSpPr>
            <a:spLocks noGrp="1"/>
          </p:cNvSpPr>
          <p:nvPr>
            <p:ph type="chart" sz="quarter" idx="16"/>
          </p:nvPr>
        </p:nvSpPr>
        <p:spPr>
          <a:xfrm>
            <a:off x="278610" y="1016004"/>
            <a:ext cx="5929313" cy="5097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it-IT"/>
              <a:t>Fare clic sull'icona per inserire un grafico</a:t>
            </a:r>
            <a:endParaRPr lang="it-IT" dirty="0"/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6350794" y="1609725"/>
            <a:ext cx="2491754" cy="3905250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882530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ABELLA +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abella 3"/>
          <p:cNvSpPr>
            <a:spLocks noGrp="1"/>
          </p:cNvSpPr>
          <p:nvPr>
            <p:ph type="tbl" sz="quarter" idx="20"/>
          </p:nvPr>
        </p:nvSpPr>
        <p:spPr>
          <a:xfrm>
            <a:off x="278610" y="1016004"/>
            <a:ext cx="5929313" cy="5097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it-IT"/>
              <a:t>Fare clic sull'icona per inserire una tabella</a:t>
            </a:r>
            <a:endParaRPr lang="it-IT" dirty="0"/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22"/>
          </p:nvPr>
        </p:nvSpPr>
        <p:spPr>
          <a:xfrm>
            <a:off x="6350794" y="1609725"/>
            <a:ext cx="2514600" cy="3924300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78743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1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</p:spTree>
    <p:extLst>
      <p:ext uri="{BB962C8B-B14F-4D97-AF65-F5344CB8AC3E}">
        <p14:creationId xmlns:p14="http://schemas.microsoft.com/office/powerpoint/2010/main" val="2482265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>
          <a:xfrm>
            <a:off x="1" y="628650"/>
            <a:ext cx="9144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" name="Rettangolo 3"/>
          <p:cNvSpPr/>
          <p:nvPr/>
        </p:nvSpPr>
        <p:spPr>
          <a:xfrm>
            <a:off x="1" y="628650"/>
            <a:ext cx="9144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5" name="Rettangolo 4"/>
          <p:cNvSpPr/>
          <p:nvPr userDrawn="1"/>
        </p:nvSpPr>
        <p:spPr>
          <a:xfrm>
            <a:off x="1" y="628650"/>
            <a:ext cx="9144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1745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>
          <a:xfrm>
            <a:off x="8658418" y="6498217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Rettangolo 3"/>
          <p:cNvSpPr/>
          <p:nvPr/>
        </p:nvSpPr>
        <p:spPr>
          <a:xfrm>
            <a:off x="5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5" name="Immagine 4" descr="pi_rgb_nobkgd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7055" y="2854725"/>
            <a:ext cx="3009899" cy="810177"/>
          </a:xfrm>
          <a:prstGeom prst="rect">
            <a:avLst/>
          </a:prstGeom>
        </p:spPr>
      </p:pic>
      <p:pic>
        <p:nvPicPr>
          <p:cNvPr id="6" name="Immagine 5" descr="social_poste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089" y="3858047"/>
            <a:ext cx="1557826" cy="238646"/>
          </a:xfrm>
          <a:prstGeom prst="rect">
            <a:avLst/>
          </a:prstGeom>
        </p:spPr>
      </p:pic>
      <p:sp>
        <p:nvSpPr>
          <p:cNvPr id="8" name="Segnaposto testo 7"/>
          <p:cNvSpPr>
            <a:spLocks noGrp="1"/>
          </p:cNvSpPr>
          <p:nvPr>
            <p:ph type="body" sz="quarter" idx="11" hasCustomPrompt="1"/>
          </p:nvPr>
        </p:nvSpPr>
        <p:spPr>
          <a:xfrm>
            <a:off x="1762125" y="5588009"/>
            <a:ext cx="5619750" cy="525463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100" baseline="0"/>
            </a:lvl1pPr>
          </a:lstStyle>
          <a:p>
            <a:pPr lvl="0"/>
            <a:r>
              <a:rPr lang="it-IT" dirty="0"/>
              <a:t>Rispetta l’ambiente: NON MI STAMPARE </a:t>
            </a:r>
          </a:p>
        </p:txBody>
      </p:sp>
      <p:sp>
        <p:nvSpPr>
          <p:cNvPr id="9" name="Rettangolo 8"/>
          <p:cNvSpPr/>
          <p:nvPr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5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11" name="Immagine 10" descr="pi_rgb_nobkgd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7055" y="2854725"/>
            <a:ext cx="3009899" cy="810177"/>
          </a:xfrm>
          <a:prstGeom prst="rect">
            <a:avLst/>
          </a:prstGeom>
        </p:spPr>
      </p:pic>
      <p:pic>
        <p:nvPicPr>
          <p:cNvPr id="12" name="Immagine 11" descr="social_poste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089" y="3858047"/>
            <a:ext cx="1557826" cy="238646"/>
          </a:xfrm>
          <a:prstGeom prst="rect">
            <a:avLst/>
          </a:prstGeom>
        </p:spPr>
      </p:pic>
      <p:sp>
        <p:nvSpPr>
          <p:cNvPr id="13" name="Rettangolo 12"/>
          <p:cNvSpPr/>
          <p:nvPr userDrawn="1"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4" name="Rettangolo 13"/>
          <p:cNvSpPr/>
          <p:nvPr userDrawn="1"/>
        </p:nvSpPr>
        <p:spPr>
          <a:xfrm>
            <a:off x="6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15" name="Immagine 14" descr="pi_rgb_nobkgd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3627" y="2780357"/>
            <a:ext cx="4076753" cy="812902"/>
          </a:xfrm>
          <a:prstGeom prst="rect">
            <a:avLst/>
          </a:prstGeom>
        </p:spPr>
      </p:pic>
      <p:pic>
        <p:nvPicPr>
          <p:cNvPr id="16" name="Immagine 15" descr="social_poste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7134" y="3783686"/>
            <a:ext cx="2109730" cy="239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9533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30679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magine Pagina Inte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000" baseline="0"/>
            </a:lvl1pPr>
          </a:lstStyle>
          <a:p>
            <a:r>
              <a:rPr lang="it-IT" dirty="0"/>
              <a:t>IMMAGINE A PAGINA INTERA</a:t>
            </a:r>
          </a:p>
          <a:p>
            <a:r>
              <a:rPr lang="it-IT" dirty="0"/>
              <a:t>Cliccare per inserire</a:t>
            </a:r>
          </a:p>
        </p:txBody>
      </p:sp>
    </p:spTree>
    <p:extLst>
      <p:ext uri="{BB962C8B-B14F-4D97-AF65-F5344CB8AC3E}">
        <p14:creationId xmlns:p14="http://schemas.microsoft.com/office/powerpoint/2010/main" val="3975619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STD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617945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87582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4"/>
          </p:nvPr>
        </p:nvSpPr>
        <p:spPr>
          <a:xfrm>
            <a:off x="278608" y="1016004"/>
            <a:ext cx="8586788" cy="5097463"/>
          </a:xfrm>
          <a:prstGeom prst="rect">
            <a:avLst/>
          </a:prstGeom>
          <a:ln w="25400" cap="rnd">
            <a:noFill/>
          </a:ln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707173"/>
              </a:buClr>
              <a:defRPr lang="it-IT" sz="1500" dirty="0" smtClean="0"/>
            </a:lvl1pPr>
            <a:lvl2pPr>
              <a:buClr>
                <a:srgbClr val="707173"/>
              </a:buClr>
              <a:defRPr lang="it-IT" sz="1350" dirty="0" smtClean="0"/>
            </a:lvl2pPr>
            <a:lvl3pPr marL="807244" indent="-121444">
              <a:buClr>
                <a:srgbClr val="707173"/>
              </a:buClr>
              <a:defRPr lang="it-IT" sz="1200" dirty="0" smtClean="0"/>
            </a:lvl3pPr>
            <a:lvl4pPr marL="1143000" indent="-114300">
              <a:buClr>
                <a:srgbClr val="707173"/>
              </a:buClr>
              <a:defRPr lang="it-IT" sz="1050" dirty="0" smtClean="0"/>
            </a:lvl4pPr>
            <a:lvl5pPr marL="1478756" indent="-107156">
              <a:buClr>
                <a:srgbClr val="707173"/>
              </a:buClr>
              <a:defRPr lang="it-IT" sz="1050" dirty="0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25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</p:spTree>
    <p:extLst>
      <p:ext uri="{BB962C8B-B14F-4D97-AF65-F5344CB8AC3E}">
        <p14:creationId xmlns:p14="http://schemas.microsoft.com/office/powerpoint/2010/main" val="1636516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STD Testo 2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5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24"/>
          </p:nvPr>
        </p:nvSpPr>
        <p:spPr>
          <a:xfrm>
            <a:off x="278606" y="1016004"/>
            <a:ext cx="4221956" cy="509746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25"/>
          </p:nvPr>
        </p:nvSpPr>
        <p:spPr>
          <a:xfrm>
            <a:off x="4643438" y="1016004"/>
            <a:ext cx="4221956" cy="509746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94502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sto + Imm. d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egnaposto immagine 26"/>
          <p:cNvSpPr>
            <a:spLocks noGrp="1"/>
          </p:cNvSpPr>
          <p:nvPr>
            <p:ph type="pic" sz="quarter" idx="16"/>
          </p:nvPr>
        </p:nvSpPr>
        <p:spPr>
          <a:xfrm>
            <a:off x="4643441" y="1016004"/>
            <a:ext cx="4195763" cy="509746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vert="horz" lIns="0" tIns="45720" rIns="0" bIns="45720" rtlCol="0" anchor="t">
            <a:normAutofit/>
          </a:bodyPr>
          <a:lstStyle>
            <a:lvl1pPr marL="0" indent="0" algn="l">
              <a:buNone/>
              <a:defRPr lang="it-IT"/>
            </a:lvl1pPr>
          </a:lstStyle>
          <a:p>
            <a:pPr lvl="0"/>
            <a:r>
              <a:rPr lang="it-IT"/>
              <a:t>Fare clic sull'icona per inserire un'immagine</a:t>
            </a:r>
            <a:endParaRPr lang="it-IT" dirty="0"/>
          </a:p>
        </p:txBody>
      </p:sp>
      <p:sp>
        <p:nvSpPr>
          <p:cNvPr id="20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21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278606" y="2066925"/>
            <a:ext cx="4221956" cy="30384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401454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sto + Imm. s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egnaposto immagine 14"/>
          <p:cNvSpPr>
            <a:spLocks noGrp="1"/>
          </p:cNvSpPr>
          <p:nvPr>
            <p:ph type="pic" sz="quarter" idx="16"/>
          </p:nvPr>
        </p:nvSpPr>
        <p:spPr>
          <a:xfrm>
            <a:off x="278606" y="1016004"/>
            <a:ext cx="4221956" cy="509746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anchor="t"/>
          <a:lstStyle>
            <a:lvl1pPr marL="0" indent="0" algn="l">
              <a:buNone/>
              <a:defRPr/>
            </a:lvl1pPr>
          </a:lstStyle>
          <a:p>
            <a:r>
              <a:rPr lang="it-IT"/>
              <a:t>Fare clic sull'icona per inserire un'immagine</a:t>
            </a:r>
            <a:endParaRPr lang="it-IT" dirty="0"/>
          </a:p>
        </p:txBody>
      </p:sp>
      <p:sp>
        <p:nvSpPr>
          <p:cNvPr id="14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6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4643438" y="2076449"/>
            <a:ext cx="4221956" cy="2905125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233667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GRAFICO +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egnaposto grafico 14"/>
          <p:cNvSpPr>
            <a:spLocks noGrp="1"/>
          </p:cNvSpPr>
          <p:nvPr>
            <p:ph type="chart" sz="quarter" idx="16"/>
          </p:nvPr>
        </p:nvSpPr>
        <p:spPr>
          <a:xfrm>
            <a:off x="278610" y="1016004"/>
            <a:ext cx="5929313" cy="5097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it-IT"/>
              <a:t>Fare clic sull'icona per inserire un grafico</a:t>
            </a:r>
            <a:endParaRPr lang="it-IT" dirty="0"/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6350794" y="1609725"/>
            <a:ext cx="2491754" cy="3905250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462648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ABELLA +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abella 3"/>
          <p:cNvSpPr>
            <a:spLocks noGrp="1"/>
          </p:cNvSpPr>
          <p:nvPr>
            <p:ph type="tbl" sz="quarter" idx="20"/>
          </p:nvPr>
        </p:nvSpPr>
        <p:spPr>
          <a:xfrm>
            <a:off x="278610" y="1016004"/>
            <a:ext cx="5929313" cy="5097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it-IT"/>
              <a:t>Fare clic sull'icona per inserire una tabella</a:t>
            </a:r>
            <a:endParaRPr lang="it-IT" dirty="0"/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22"/>
          </p:nvPr>
        </p:nvSpPr>
        <p:spPr>
          <a:xfrm>
            <a:off x="6350794" y="1609725"/>
            <a:ext cx="2514600" cy="3924300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750227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3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vmlDrawing" Target="../drawings/vmlDrawing3.v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526430692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Diapositiva think-cell" r:id="rId16" imgW="270" imgH="270" progId="TCLayout.ActiveDocument.1">
                  <p:embed/>
                </p:oleObj>
              </mc:Choice>
              <mc:Fallback>
                <p:oleObj name="Diapositiva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Rettangolo 60"/>
          <p:cNvSpPr/>
          <p:nvPr userDrawn="1"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grpSp>
        <p:nvGrpSpPr>
          <p:cNvPr id="3" name="Gruppo 2"/>
          <p:cNvGrpSpPr/>
          <p:nvPr/>
        </p:nvGrpSpPr>
        <p:grpSpPr>
          <a:xfrm>
            <a:off x="685800" y="-602994"/>
            <a:ext cx="7768558" cy="431729"/>
            <a:chOff x="1" y="-602994"/>
            <a:chExt cx="12191999" cy="431729"/>
          </a:xfrm>
        </p:grpSpPr>
        <p:sp>
          <p:nvSpPr>
            <p:cNvPr id="86" name="Rettangolo 85"/>
            <p:cNvSpPr/>
            <p:nvPr/>
          </p:nvSpPr>
          <p:spPr>
            <a:xfrm>
              <a:off x="1" y="-602994"/>
              <a:ext cx="2160000" cy="4273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0047BB"/>
                  </a:solidFill>
                </a:rPr>
                <a:t>GIALLO</a:t>
              </a:r>
            </a:p>
          </p:txBody>
        </p:sp>
        <p:sp>
          <p:nvSpPr>
            <p:cNvPr id="87" name="Rettangolo 86"/>
            <p:cNvSpPr/>
            <p:nvPr/>
          </p:nvSpPr>
          <p:spPr>
            <a:xfrm>
              <a:off x="2508001" y="-602994"/>
              <a:ext cx="2160000" cy="42734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BLU</a:t>
              </a:r>
            </a:p>
          </p:txBody>
        </p:sp>
        <p:sp>
          <p:nvSpPr>
            <p:cNvPr id="88" name="Rettangolo 87"/>
            <p:cNvSpPr/>
            <p:nvPr/>
          </p:nvSpPr>
          <p:spPr>
            <a:xfrm>
              <a:off x="5016001" y="-598614"/>
              <a:ext cx="2160000" cy="427349"/>
            </a:xfrm>
            <a:prstGeom prst="rect">
              <a:avLst/>
            </a:prstGeom>
            <a:solidFill>
              <a:srgbClr val="3B3B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1 </a:t>
              </a:r>
              <a:br>
                <a:rPr lang="it-IT" sz="1050" b="1" dirty="0">
                  <a:solidFill>
                    <a:prstClr val="white"/>
                  </a:solidFill>
                </a:rPr>
              </a:br>
              <a:r>
                <a:rPr lang="it-IT" sz="825" dirty="0">
                  <a:solidFill>
                    <a:prstClr val="white"/>
                  </a:solidFill>
                </a:rPr>
                <a:t>(solo testo)</a:t>
              </a:r>
              <a:endParaRPr lang="it-IT" sz="1050" dirty="0">
                <a:solidFill>
                  <a:prstClr val="white"/>
                </a:solidFill>
              </a:endParaRPr>
            </a:p>
          </p:txBody>
        </p:sp>
        <p:sp>
          <p:nvSpPr>
            <p:cNvPr id="89" name="Rettangolo 88"/>
            <p:cNvSpPr/>
            <p:nvPr/>
          </p:nvSpPr>
          <p:spPr>
            <a:xfrm>
              <a:off x="7524001" y="-602994"/>
              <a:ext cx="2160000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2</a:t>
              </a:r>
            </a:p>
          </p:txBody>
        </p:sp>
        <p:sp>
          <p:nvSpPr>
            <p:cNvPr id="29" name="Rettangolo 28"/>
            <p:cNvSpPr/>
            <p:nvPr/>
          </p:nvSpPr>
          <p:spPr>
            <a:xfrm>
              <a:off x="10032000" y="-602994"/>
              <a:ext cx="2160000" cy="42734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E7E6E6">
                      <a:lumMod val="25000"/>
                    </a:srgbClr>
                  </a:solidFill>
                </a:rPr>
                <a:t>GRIGIO3</a:t>
              </a:r>
            </a:p>
          </p:txBody>
        </p:sp>
      </p:grpSp>
      <p:cxnSp>
        <p:nvCxnSpPr>
          <p:cNvPr id="20" name="Connettore diritto 19"/>
          <p:cNvCxnSpPr/>
          <p:nvPr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egnaposto testo 3"/>
          <p:cNvSpPr>
            <a:spLocks noGrp="1"/>
          </p:cNvSpPr>
          <p:nvPr>
            <p:ph type="body" idx="1"/>
          </p:nvPr>
        </p:nvSpPr>
        <p:spPr>
          <a:xfrm>
            <a:off x="278606" y="1016000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5" name="Rettangolo 14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16" name="Immagine 15" descr="PI_logo_o_RGB_p.jp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8" name="Rettangolo 17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9" name="Rettangolo 18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658418" y="6495840"/>
            <a:ext cx="484394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cxnSp>
        <p:nvCxnSpPr>
          <p:cNvPr id="22" name="Connettore diritto 21"/>
          <p:cNvCxnSpPr/>
          <p:nvPr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riangolo isoscele 1"/>
          <p:cNvSpPr/>
          <p:nvPr/>
        </p:nvSpPr>
        <p:spPr>
          <a:xfrm rot="10800000">
            <a:off x="227345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3" name="Triangolo isoscele 22"/>
          <p:cNvSpPr/>
          <p:nvPr/>
        </p:nvSpPr>
        <p:spPr>
          <a:xfrm rot="10800000">
            <a:off x="8817402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4" name="Triangolo isoscele 23"/>
          <p:cNvSpPr/>
          <p:nvPr/>
        </p:nvSpPr>
        <p:spPr>
          <a:xfrm>
            <a:off x="227345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5" name="Triangolo isoscele 24"/>
          <p:cNvSpPr/>
          <p:nvPr/>
        </p:nvSpPr>
        <p:spPr>
          <a:xfrm>
            <a:off x="8817402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6" name="Triangolo isoscele 25"/>
          <p:cNvSpPr/>
          <p:nvPr/>
        </p:nvSpPr>
        <p:spPr>
          <a:xfrm rot="5400000">
            <a:off x="-223572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7" name="Triangolo isoscele 26"/>
          <p:cNvSpPr/>
          <p:nvPr/>
        </p:nvSpPr>
        <p:spPr>
          <a:xfrm rot="5400000">
            <a:off x="-223571" y="6015502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8" name="Triangolo isoscele 27"/>
          <p:cNvSpPr/>
          <p:nvPr/>
        </p:nvSpPr>
        <p:spPr>
          <a:xfrm rot="16200000">
            <a:off x="9231797" y="918033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0" name="Triangolo isoscele 29"/>
          <p:cNvSpPr/>
          <p:nvPr/>
        </p:nvSpPr>
        <p:spPr>
          <a:xfrm rot="16200000">
            <a:off x="9231798" y="6015502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grpSp>
        <p:nvGrpSpPr>
          <p:cNvPr id="31" name="Gruppo 30"/>
          <p:cNvGrpSpPr/>
          <p:nvPr/>
        </p:nvGrpSpPr>
        <p:grpSpPr>
          <a:xfrm>
            <a:off x="685800" y="-602994"/>
            <a:ext cx="7768558" cy="431729"/>
            <a:chOff x="1" y="-602994"/>
            <a:chExt cx="12191999" cy="431729"/>
          </a:xfrm>
        </p:grpSpPr>
        <p:sp>
          <p:nvSpPr>
            <p:cNvPr id="32" name="Rettangolo 31"/>
            <p:cNvSpPr/>
            <p:nvPr/>
          </p:nvSpPr>
          <p:spPr>
            <a:xfrm>
              <a:off x="1" y="-602994"/>
              <a:ext cx="2160000" cy="42734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0047BB"/>
                  </a:solidFill>
                </a:rPr>
                <a:t>GIALLO</a:t>
              </a:r>
            </a:p>
          </p:txBody>
        </p:sp>
        <p:sp>
          <p:nvSpPr>
            <p:cNvPr id="33" name="Rettangolo 32"/>
            <p:cNvSpPr/>
            <p:nvPr/>
          </p:nvSpPr>
          <p:spPr>
            <a:xfrm>
              <a:off x="2508001" y="-602994"/>
              <a:ext cx="2160000" cy="42734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BLU</a:t>
              </a:r>
            </a:p>
          </p:txBody>
        </p:sp>
        <p:sp>
          <p:nvSpPr>
            <p:cNvPr id="34" name="Rettangolo 33"/>
            <p:cNvSpPr/>
            <p:nvPr/>
          </p:nvSpPr>
          <p:spPr>
            <a:xfrm>
              <a:off x="5016001" y="-598614"/>
              <a:ext cx="2160000" cy="427349"/>
            </a:xfrm>
            <a:prstGeom prst="rect">
              <a:avLst/>
            </a:prstGeom>
            <a:solidFill>
              <a:srgbClr val="3B3B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1 </a:t>
              </a:r>
              <a:br>
                <a:rPr lang="it-IT" sz="1050" b="1" dirty="0">
                  <a:solidFill>
                    <a:prstClr val="white"/>
                  </a:solidFill>
                </a:rPr>
              </a:br>
              <a:r>
                <a:rPr lang="it-IT" sz="825" dirty="0">
                  <a:solidFill>
                    <a:prstClr val="white"/>
                  </a:solidFill>
                </a:rPr>
                <a:t>(solo testo)</a:t>
              </a:r>
              <a:endParaRPr lang="it-IT" sz="1050" dirty="0">
                <a:solidFill>
                  <a:prstClr val="white"/>
                </a:solidFill>
              </a:endParaRPr>
            </a:p>
          </p:txBody>
        </p:sp>
        <p:sp>
          <p:nvSpPr>
            <p:cNvPr id="35" name="Rettangolo 34"/>
            <p:cNvSpPr/>
            <p:nvPr/>
          </p:nvSpPr>
          <p:spPr>
            <a:xfrm>
              <a:off x="7524001" y="-602994"/>
              <a:ext cx="2160000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2</a:t>
              </a:r>
            </a:p>
          </p:txBody>
        </p:sp>
        <p:sp>
          <p:nvSpPr>
            <p:cNvPr id="36" name="Rettangolo 35"/>
            <p:cNvSpPr/>
            <p:nvPr/>
          </p:nvSpPr>
          <p:spPr>
            <a:xfrm>
              <a:off x="10032000" y="-602994"/>
              <a:ext cx="2160000" cy="42734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E7E6E6">
                      <a:lumMod val="25000"/>
                    </a:srgbClr>
                  </a:solidFill>
                </a:rPr>
                <a:t>GRIGIO3</a:t>
              </a:r>
            </a:p>
          </p:txBody>
        </p:sp>
      </p:grpSp>
      <p:cxnSp>
        <p:nvCxnSpPr>
          <p:cNvPr id="37" name="Connettore diritto 36"/>
          <p:cNvCxnSpPr/>
          <p:nvPr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ttangolo 37"/>
          <p:cNvSpPr/>
          <p:nvPr/>
        </p:nvSpPr>
        <p:spPr>
          <a:xfrm>
            <a:off x="2397568" y="6498218"/>
            <a:ext cx="6189030" cy="3597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9" name="Rettangolo 38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40" name="Immagine 39" descr="PI_logo_o_RGB_p.jp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41" name="Rettangolo 40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2" name="Rettangolo 41"/>
          <p:cNvSpPr/>
          <p:nvPr/>
        </p:nvSpPr>
        <p:spPr>
          <a:xfrm>
            <a:off x="8659609" y="6495832"/>
            <a:ext cx="484394" cy="3597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43" name="Connettore diritto 42"/>
          <p:cNvCxnSpPr/>
          <p:nvPr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riangolo isoscele 43"/>
          <p:cNvSpPr/>
          <p:nvPr/>
        </p:nvSpPr>
        <p:spPr>
          <a:xfrm rot="10800000">
            <a:off x="227345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5" name="Triangolo isoscele 44"/>
          <p:cNvSpPr/>
          <p:nvPr/>
        </p:nvSpPr>
        <p:spPr>
          <a:xfrm rot="10800000">
            <a:off x="8817402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6" name="Triangolo isoscele 45"/>
          <p:cNvSpPr/>
          <p:nvPr/>
        </p:nvSpPr>
        <p:spPr>
          <a:xfrm>
            <a:off x="227345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7" name="Triangolo isoscele 46"/>
          <p:cNvSpPr/>
          <p:nvPr/>
        </p:nvSpPr>
        <p:spPr>
          <a:xfrm>
            <a:off x="8817402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8" name="Triangolo isoscele 47"/>
          <p:cNvSpPr/>
          <p:nvPr/>
        </p:nvSpPr>
        <p:spPr>
          <a:xfrm rot="5400000">
            <a:off x="-223572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9" name="Triangolo isoscele 48"/>
          <p:cNvSpPr/>
          <p:nvPr/>
        </p:nvSpPr>
        <p:spPr>
          <a:xfrm rot="5400000">
            <a:off x="-223571" y="6015502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50" name="Triangolo isoscele 49"/>
          <p:cNvSpPr/>
          <p:nvPr/>
        </p:nvSpPr>
        <p:spPr>
          <a:xfrm rot="16200000">
            <a:off x="9231797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51" name="Triangolo isoscele 50"/>
          <p:cNvSpPr/>
          <p:nvPr/>
        </p:nvSpPr>
        <p:spPr>
          <a:xfrm rot="16200000">
            <a:off x="9231798" y="6015502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58" name="Connettore diritto 57"/>
          <p:cNvCxnSpPr/>
          <p:nvPr userDrawn="1"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ttangolo 58"/>
          <p:cNvSpPr/>
          <p:nvPr userDrawn="1"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0" name="Rettangolo 59"/>
          <p:cNvSpPr/>
          <p:nvPr userDrawn="1"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62" name="Connettore diritto 61"/>
          <p:cNvCxnSpPr/>
          <p:nvPr userDrawn="1"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riangolo isoscele 62"/>
          <p:cNvSpPr/>
          <p:nvPr userDrawn="1"/>
        </p:nvSpPr>
        <p:spPr>
          <a:xfrm rot="10800000">
            <a:off x="227345" y="-324737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4" name="Triangolo isoscele 63"/>
          <p:cNvSpPr/>
          <p:nvPr userDrawn="1"/>
        </p:nvSpPr>
        <p:spPr>
          <a:xfrm rot="10800000">
            <a:off x="8817402" y="-324737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5" name="Triangolo isoscele 64"/>
          <p:cNvSpPr/>
          <p:nvPr userDrawn="1"/>
        </p:nvSpPr>
        <p:spPr>
          <a:xfrm>
            <a:off x="227345" y="6950754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6" name="Triangolo isoscele 65"/>
          <p:cNvSpPr/>
          <p:nvPr userDrawn="1"/>
        </p:nvSpPr>
        <p:spPr>
          <a:xfrm>
            <a:off x="8817402" y="6950754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7" name="Triangolo isoscele 66"/>
          <p:cNvSpPr/>
          <p:nvPr userDrawn="1"/>
        </p:nvSpPr>
        <p:spPr>
          <a:xfrm rot="5400000">
            <a:off x="-223572" y="918033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8" name="Triangolo isoscele 67"/>
          <p:cNvSpPr/>
          <p:nvPr userDrawn="1"/>
        </p:nvSpPr>
        <p:spPr>
          <a:xfrm rot="5400000">
            <a:off x="-223571" y="6015504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9" name="Triangolo isoscele 68"/>
          <p:cNvSpPr/>
          <p:nvPr userDrawn="1"/>
        </p:nvSpPr>
        <p:spPr>
          <a:xfrm rot="16200000">
            <a:off x="9231797" y="918033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70" name="Triangolo isoscele 69"/>
          <p:cNvSpPr/>
          <p:nvPr userDrawn="1"/>
        </p:nvSpPr>
        <p:spPr>
          <a:xfrm rot="16200000">
            <a:off x="9231798" y="6015504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72" name="Immagine 71" descr="PI_logo_o_RGB_p.jpg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2" y="6497638"/>
            <a:ext cx="1781708" cy="357988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73" name="Segnaposto numero diapositiva 2"/>
          <p:cNvSpPr txBox="1">
            <a:spLocks/>
          </p:cNvSpPr>
          <p:nvPr userDrawn="1"/>
        </p:nvSpPr>
        <p:spPr>
          <a:xfrm>
            <a:off x="8659606" y="6500822"/>
            <a:ext cx="484394" cy="357187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7FA73C-A7EE-4241-A631-441DFD16C2EB}" type="slidenum">
              <a:rPr lang="it-IT" smtClean="0">
                <a:solidFill>
                  <a:srgbClr val="706F6F"/>
                </a:solidFill>
              </a:rPr>
              <a:pPr/>
              <a:t>‹N›</a:t>
            </a:fld>
            <a:endParaRPr lang="it-IT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996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rgbClr val="707173"/>
        </a:buClr>
        <a:buSzPct val="120000"/>
        <a:buFont typeface="Arial" panose="020B0604020202020204" pitchFamily="34" charset="0"/>
        <a:buChar char="•"/>
        <a:defRPr lang="it-IT" sz="15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SzPct val="100000"/>
        <a:buFont typeface="Courier New" panose="02070309020205020404" pitchFamily="49" charset="0"/>
        <a:buChar char="o"/>
        <a:defRPr lang="it-IT" sz="135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Font typeface="Arial" panose="020B0604020202020204" pitchFamily="34" charset="0"/>
        <a:buChar char="•"/>
        <a:defRPr lang="it-IT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SzPct val="80000"/>
        <a:buFont typeface="Courier New" panose="02070309020205020404" pitchFamily="49" charset="0"/>
        <a:buChar char="o"/>
        <a:defRPr lang="it-IT" sz="105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707173"/>
        </a:buClr>
        <a:buSzPct val="60000"/>
        <a:buFont typeface="Arial" panose="020B0604020202020204" pitchFamily="34" charset="0"/>
        <a:buChar char="•"/>
        <a:defRPr lang="it-IT" sz="105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2" pos="3840">
          <p15:clr>
            <a:srgbClr val="F26B43"/>
          </p15:clr>
        </p15:guide>
        <p15:guide id="5" pos="234">
          <p15:clr>
            <a:srgbClr val="9FCC3B"/>
          </p15:clr>
        </p15:guide>
        <p15:guide id="6" pos="7446">
          <p15:clr>
            <a:srgbClr val="9FCC3B"/>
          </p15:clr>
        </p15:guide>
        <p15:guide id="7" orient="horz" pos="2244" userDrawn="1">
          <p15:clr>
            <a:srgbClr val="9FCC3B"/>
          </p15:clr>
        </p15:guide>
        <p15:guide id="8" pos="2880" userDrawn="1">
          <p15:clr>
            <a:srgbClr val="F26B43"/>
          </p15:clr>
        </p15:guide>
        <p15:guide id="9" orient="horz" pos="3851" userDrawn="1">
          <p15:clr>
            <a:srgbClr val="9FCC3B"/>
          </p15:clr>
        </p15:guide>
        <p15:guide id="10" orient="horz" pos="640" userDrawn="1">
          <p15:clr>
            <a:srgbClr val="FBAE40"/>
          </p15:clr>
        </p15:guide>
        <p15:guide id="11" pos="176" userDrawn="1">
          <p15:clr>
            <a:srgbClr val="9FCC3B"/>
          </p15:clr>
        </p15:guide>
        <p15:guide id="12" pos="5585" userDrawn="1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146056443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Diapositiva think-cell" r:id="rId17" imgW="270" imgH="270" progId="TCLayout.ActiveDocument.1">
                  <p:embed/>
                </p:oleObj>
              </mc:Choice>
              <mc:Fallback>
                <p:oleObj name="Diapositiva think-cell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Rettangolo 60"/>
          <p:cNvSpPr/>
          <p:nvPr userDrawn="1"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grpSp>
        <p:nvGrpSpPr>
          <p:cNvPr id="3" name="Gruppo 2"/>
          <p:cNvGrpSpPr/>
          <p:nvPr/>
        </p:nvGrpSpPr>
        <p:grpSpPr>
          <a:xfrm>
            <a:off x="685800" y="-602994"/>
            <a:ext cx="7768558" cy="431729"/>
            <a:chOff x="1" y="-602994"/>
            <a:chExt cx="12191999" cy="431729"/>
          </a:xfrm>
        </p:grpSpPr>
        <p:sp>
          <p:nvSpPr>
            <p:cNvPr id="86" name="Rettangolo 85"/>
            <p:cNvSpPr/>
            <p:nvPr/>
          </p:nvSpPr>
          <p:spPr>
            <a:xfrm>
              <a:off x="1" y="-602994"/>
              <a:ext cx="2160000" cy="4273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0047BB"/>
                  </a:solidFill>
                </a:rPr>
                <a:t>GIALLO</a:t>
              </a:r>
            </a:p>
          </p:txBody>
        </p:sp>
        <p:sp>
          <p:nvSpPr>
            <p:cNvPr id="87" name="Rettangolo 86"/>
            <p:cNvSpPr/>
            <p:nvPr/>
          </p:nvSpPr>
          <p:spPr>
            <a:xfrm>
              <a:off x="2508001" y="-602994"/>
              <a:ext cx="2160000" cy="42734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BLU</a:t>
              </a:r>
            </a:p>
          </p:txBody>
        </p:sp>
        <p:sp>
          <p:nvSpPr>
            <p:cNvPr id="88" name="Rettangolo 87"/>
            <p:cNvSpPr/>
            <p:nvPr/>
          </p:nvSpPr>
          <p:spPr>
            <a:xfrm>
              <a:off x="5016001" y="-598614"/>
              <a:ext cx="2160000" cy="427349"/>
            </a:xfrm>
            <a:prstGeom prst="rect">
              <a:avLst/>
            </a:prstGeom>
            <a:solidFill>
              <a:srgbClr val="3B3B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1 </a:t>
              </a:r>
              <a:br>
                <a:rPr lang="it-IT" sz="1050" b="1" dirty="0">
                  <a:solidFill>
                    <a:prstClr val="white"/>
                  </a:solidFill>
                </a:rPr>
              </a:br>
              <a:r>
                <a:rPr lang="it-IT" sz="825" dirty="0">
                  <a:solidFill>
                    <a:prstClr val="white"/>
                  </a:solidFill>
                </a:rPr>
                <a:t>(solo testo)</a:t>
              </a:r>
              <a:endParaRPr lang="it-IT" sz="1050" dirty="0">
                <a:solidFill>
                  <a:prstClr val="white"/>
                </a:solidFill>
              </a:endParaRPr>
            </a:p>
          </p:txBody>
        </p:sp>
        <p:sp>
          <p:nvSpPr>
            <p:cNvPr id="89" name="Rettangolo 88"/>
            <p:cNvSpPr/>
            <p:nvPr/>
          </p:nvSpPr>
          <p:spPr>
            <a:xfrm>
              <a:off x="7524001" y="-602994"/>
              <a:ext cx="2160000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2</a:t>
              </a:r>
            </a:p>
          </p:txBody>
        </p:sp>
        <p:sp>
          <p:nvSpPr>
            <p:cNvPr id="29" name="Rettangolo 28"/>
            <p:cNvSpPr/>
            <p:nvPr/>
          </p:nvSpPr>
          <p:spPr>
            <a:xfrm>
              <a:off x="10032000" y="-602994"/>
              <a:ext cx="2160000" cy="42734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E7E6E6">
                      <a:lumMod val="25000"/>
                    </a:srgbClr>
                  </a:solidFill>
                </a:rPr>
                <a:t>GRIGIO3</a:t>
              </a:r>
            </a:p>
          </p:txBody>
        </p:sp>
      </p:grpSp>
      <p:cxnSp>
        <p:nvCxnSpPr>
          <p:cNvPr id="20" name="Connettore diritto 19"/>
          <p:cNvCxnSpPr/>
          <p:nvPr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egnaposto testo 3"/>
          <p:cNvSpPr>
            <a:spLocks noGrp="1"/>
          </p:cNvSpPr>
          <p:nvPr>
            <p:ph type="body" idx="1"/>
          </p:nvPr>
        </p:nvSpPr>
        <p:spPr>
          <a:xfrm>
            <a:off x="278606" y="1016000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5" name="Rettangolo 14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16" name="Immagine 15" descr="PI_logo_o_RGB_p.jpg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8" name="Rettangolo 17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9" name="Rettangolo 18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658418" y="6495840"/>
            <a:ext cx="484394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cxnSp>
        <p:nvCxnSpPr>
          <p:cNvPr id="22" name="Connettore diritto 21"/>
          <p:cNvCxnSpPr/>
          <p:nvPr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riangolo isoscele 1"/>
          <p:cNvSpPr/>
          <p:nvPr/>
        </p:nvSpPr>
        <p:spPr>
          <a:xfrm rot="10800000">
            <a:off x="227345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3" name="Triangolo isoscele 22"/>
          <p:cNvSpPr/>
          <p:nvPr/>
        </p:nvSpPr>
        <p:spPr>
          <a:xfrm rot="10800000">
            <a:off x="8817402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4" name="Triangolo isoscele 23"/>
          <p:cNvSpPr/>
          <p:nvPr/>
        </p:nvSpPr>
        <p:spPr>
          <a:xfrm>
            <a:off x="227345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5" name="Triangolo isoscele 24"/>
          <p:cNvSpPr/>
          <p:nvPr/>
        </p:nvSpPr>
        <p:spPr>
          <a:xfrm>
            <a:off x="8817402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6" name="Triangolo isoscele 25"/>
          <p:cNvSpPr/>
          <p:nvPr/>
        </p:nvSpPr>
        <p:spPr>
          <a:xfrm rot="5400000">
            <a:off x="-223572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7" name="Triangolo isoscele 26"/>
          <p:cNvSpPr/>
          <p:nvPr/>
        </p:nvSpPr>
        <p:spPr>
          <a:xfrm rot="5400000">
            <a:off x="-223571" y="6015502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8" name="Triangolo isoscele 27"/>
          <p:cNvSpPr/>
          <p:nvPr/>
        </p:nvSpPr>
        <p:spPr>
          <a:xfrm rot="16200000">
            <a:off x="9231797" y="918033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0" name="Triangolo isoscele 29"/>
          <p:cNvSpPr/>
          <p:nvPr/>
        </p:nvSpPr>
        <p:spPr>
          <a:xfrm rot="16200000">
            <a:off x="9231798" y="6015502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grpSp>
        <p:nvGrpSpPr>
          <p:cNvPr id="31" name="Gruppo 30"/>
          <p:cNvGrpSpPr/>
          <p:nvPr/>
        </p:nvGrpSpPr>
        <p:grpSpPr>
          <a:xfrm>
            <a:off x="685800" y="-602994"/>
            <a:ext cx="7768558" cy="431729"/>
            <a:chOff x="1" y="-602994"/>
            <a:chExt cx="12191999" cy="431729"/>
          </a:xfrm>
        </p:grpSpPr>
        <p:sp>
          <p:nvSpPr>
            <p:cNvPr id="32" name="Rettangolo 31"/>
            <p:cNvSpPr/>
            <p:nvPr/>
          </p:nvSpPr>
          <p:spPr>
            <a:xfrm>
              <a:off x="1" y="-602994"/>
              <a:ext cx="2160000" cy="42734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0047BB"/>
                  </a:solidFill>
                </a:rPr>
                <a:t>GIALLO</a:t>
              </a:r>
            </a:p>
          </p:txBody>
        </p:sp>
        <p:sp>
          <p:nvSpPr>
            <p:cNvPr id="33" name="Rettangolo 32"/>
            <p:cNvSpPr/>
            <p:nvPr/>
          </p:nvSpPr>
          <p:spPr>
            <a:xfrm>
              <a:off x="2508001" y="-602994"/>
              <a:ext cx="2160000" cy="42734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BLU</a:t>
              </a:r>
            </a:p>
          </p:txBody>
        </p:sp>
        <p:sp>
          <p:nvSpPr>
            <p:cNvPr id="34" name="Rettangolo 33"/>
            <p:cNvSpPr/>
            <p:nvPr/>
          </p:nvSpPr>
          <p:spPr>
            <a:xfrm>
              <a:off x="5016001" y="-598614"/>
              <a:ext cx="2160000" cy="427349"/>
            </a:xfrm>
            <a:prstGeom prst="rect">
              <a:avLst/>
            </a:prstGeom>
            <a:solidFill>
              <a:srgbClr val="3B3B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1 </a:t>
              </a:r>
              <a:br>
                <a:rPr lang="it-IT" sz="1050" b="1" dirty="0">
                  <a:solidFill>
                    <a:prstClr val="white"/>
                  </a:solidFill>
                </a:rPr>
              </a:br>
              <a:r>
                <a:rPr lang="it-IT" sz="825" dirty="0">
                  <a:solidFill>
                    <a:prstClr val="white"/>
                  </a:solidFill>
                </a:rPr>
                <a:t>(solo testo)</a:t>
              </a:r>
              <a:endParaRPr lang="it-IT" sz="1050" dirty="0">
                <a:solidFill>
                  <a:prstClr val="white"/>
                </a:solidFill>
              </a:endParaRPr>
            </a:p>
          </p:txBody>
        </p:sp>
        <p:sp>
          <p:nvSpPr>
            <p:cNvPr id="35" name="Rettangolo 34"/>
            <p:cNvSpPr/>
            <p:nvPr/>
          </p:nvSpPr>
          <p:spPr>
            <a:xfrm>
              <a:off x="7524001" y="-602994"/>
              <a:ext cx="2160000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2</a:t>
              </a:r>
            </a:p>
          </p:txBody>
        </p:sp>
        <p:sp>
          <p:nvSpPr>
            <p:cNvPr id="36" name="Rettangolo 35"/>
            <p:cNvSpPr/>
            <p:nvPr/>
          </p:nvSpPr>
          <p:spPr>
            <a:xfrm>
              <a:off x="10032000" y="-602994"/>
              <a:ext cx="2160000" cy="42734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E7E6E6">
                      <a:lumMod val="25000"/>
                    </a:srgbClr>
                  </a:solidFill>
                </a:rPr>
                <a:t>GRIGIO3</a:t>
              </a:r>
            </a:p>
          </p:txBody>
        </p:sp>
      </p:grpSp>
      <p:cxnSp>
        <p:nvCxnSpPr>
          <p:cNvPr id="37" name="Connettore diritto 36"/>
          <p:cNvCxnSpPr/>
          <p:nvPr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ttangolo 37"/>
          <p:cNvSpPr/>
          <p:nvPr/>
        </p:nvSpPr>
        <p:spPr>
          <a:xfrm>
            <a:off x="2397568" y="6498218"/>
            <a:ext cx="6189030" cy="3597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9" name="Rettangolo 38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40" name="Immagine 39" descr="PI_logo_o_RGB_p.jpg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41" name="Rettangolo 40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2" name="Rettangolo 41"/>
          <p:cNvSpPr/>
          <p:nvPr/>
        </p:nvSpPr>
        <p:spPr>
          <a:xfrm>
            <a:off x="8659609" y="6495832"/>
            <a:ext cx="484394" cy="3597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43" name="Connettore diritto 42"/>
          <p:cNvCxnSpPr/>
          <p:nvPr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riangolo isoscele 43"/>
          <p:cNvSpPr/>
          <p:nvPr/>
        </p:nvSpPr>
        <p:spPr>
          <a:xfrm rot="10800000">
            <a:off x="227345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5" name="Triangolo isoscele 44"/>
          <p:cNvSpPr/>
          <p:nvPr/>
        </p:nvSpPr>
        <p:spPr>
          <a:xfrm rot="10800000">
            <a:off x="8817402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6" name="Triangolo isoscele 45"/>
          <p:cNvSpPr/>
          <p:nvPr/>
        </p:nvSpPr>
        <p:spPr>
          <a:xfrm>
            <a:off x="227345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7" name="Triangolo isoscele 46"/>
          <p:cNvSpPr/>
          <p:nvPr/>
        </p:nvSpPr>
        <p:spPr>
          <a:xfrm>
            <a:off x="8817402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8" name="Triangolo isoscele 47"/>
          <p:cNvSpPr/>
          <p:nvPr/>
        </p:nvSpPr>
        <p:spPr>
          <a:xfrm rot="5400000">
            <a:off x="-223572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9" name="Triangolo isoscele 48"/>
          <p:cNvSpPr/>
          <p:nvPr/>
        </p:nvSpPr>
        <p:spPr>
          <a:xfrm rot="5400000">
            <a:off x="-223571" y="6015502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50" name="Triangolo isoscele 49"/>
          <p:cNvSpPr/>
          <p:nvPr/>
        </p:nvSpPr>
        <p:spPr>
          <a:xfrm rot="16200000">
            <a:off x="9231797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51" name="Triangolo isoscele 50"/>
          <p:cNvSpPr/>
          <p:nvPr/>
        </p:nvSpPr>
        <p:spPr>
          <a:xfrm rot="16200000">
            <a:off x="9231798" y="6015502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58" name="Connettore diritto 57"/>
          <p:cNvCxnSpPr/>
          <p:nvPr userDrawn="1"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ttangolo 58"/>
          <p:cNvSpPr/>
          <p:nvPr userDrawn="1"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0" name="Rettangolo 59"/>
          <p:cNvSpPr/>
          <p:nvPr userDrawn="1"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62" name="Connettore diritto 61"/>
          <p:cNvCxnSpPr/>
          <p:nvPr userDrawn="1"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riangolo isoscele 62"/>
          <p:cNvSpPr/>
          <p:nvPr userDrawn="1"/>
        </p:nvSpPr>
        <p:spPr>
          <a:xfrm rot="10800000">
            <a:off x="227345" y="-324737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4" name="Triangolo isoscele 63"/>
          <p:cNvSpPr/>
          <p:nvPr userDrawn="1"/>
        </p:nvSpPr>
        <p:spPr>
          <a:xfrm rot="10800000">
            <a:off x="8817402" y="-324737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5" name="Triangolo isoscele 64"/>
          <p:cNvSpPr/>
          <p:nvPr userDrawn="1"/>
        </p:nvSpPr>
        <p:spPr>
          <a:xfrm>
            <a:off x="227345" y="6950754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6" name="Triangolo isoscele 65"/>
          <p:cNvSpPr/>
          <p:nvPr userDrawn="1"/>
        </p:nvSpPr>
        <p:spPr>
          <a:xfrm>
            <a:off x="8817402" y="6950754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7" name="Triangolo isoscele 66"/>
          <p:cNvSpPr/>
          <p:nvPr userDrawn="1"/>
        </p:nvSpPr>
        <p:spPr>
          <a:xfrm rot="5400000">
            <a:off x="-223572" y="918033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8" name="Triangolo isoscele 67"/>
          <p:cNvSpPr/>
          <p:nvPr userDrawn="1"/>
        </p:nvSpPr>
        <p:spPr>
          <a:xfrm rot="5400000">
            <a:off x="-223571" y="6015504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9" name="Triangolo isoscele 68"/>
          <p:cNvSpPr/>
          <p:nvPr userDrawn="1"/>
        </p:nvSpPr>
        <p:spPr>
          <a:xfrm rot="16200000">
            <a:off x="9231797" y="918033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70" name="Triangolo isoscele 69"/>
          <p:cNvSpPr/>
          <p:nvPr userDrawn="1"/>
        </p:nvSpPr>
        <p:spPr>
          <a:xfrm rot="16200000">
            <a:off x="9231798" y="6015504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72" name="Immagine 71" descr="PI_logo_o_RGB_p.jpg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2" y="6497638"/>
            <a:ext cx="1781708" cy="357988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73" name="Segnaposto numero diapositiva 2"/>
          <p:cNvSpPr txBox="1">
            <a:spLocks/>
          </p:cNvSpPr>
          <p:nvPr userDrawn="1"/>
        </p:nvSpPr>
        <p:spPr>
          <a:xfrm>
            <a:off x="8659606" y="6500822"/>
            <a:ext cx="484394" cy="357187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7FA73C-A7EE-4241-A631-441DFD16C2EB}" type="slidenum">
              <a:rPr lang="it-IT" smtClean="0">
                <a:solidFill>
                  <a:srgbClr val="706F6F"/>
                </a:solidFill>
              </a:rPr>
              <a:pPr/>
              <a:t>‹N›</a:t>
            </a:fld>
            <a:endParaRPr lang="it-IT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643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rgbClr val="707173"/>
        </a:buClr>
        <a:buSzPct val="120000"/>
        <a:buFont typeface="Arial" panose="020B0604020202020204" pitchFamily="34" charset="0"/>
        <a:buChar char="•"/>
        <a:defRPr lang="it-IT" sz="15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SzPct val="100000"/>
        <a:buFont typeface="Courier New" panose="02070309020205020404" pitchFamily="49" charset="0"/>
        <a:buChar char="o"/>
        <a:defRPr lang="it-IT" sz="135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Font typeface="Arial" panose="020B0604020202020204" pitchFamily="34" charset="0"/>
        <a:buChar char="•"/>
        <a:defRPr lang="it-IT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SzPct val="80000"/>
        <a:buFont typeface="Courier New" panose="02070309020205020404" pitchFamily="49" charset="0"/>
        <a:buChar char="o"/>
        <a:defRPr lang="it-IT" sz="105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707173"/>
        </a:buClr>
        <a:buSzPct val="60000"/>
        <a:buFont typeface="Arial" panose="020B0604020202020204" pitchFamily="34" charset="0"/>
        <a:buChar char="•"/>
        <a:defRPr lang="it-IT" sz="105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2" pos="3840">
          <p15:clr>
            <a:srgbClr val="F26B43"/>
          </p15:clr>
        </p15:guide>
        <p15:guide id="5" pos="234">
          <p15:clr>
            <a:srgbClr val="9FCC3B"/>
          </p15:clr>
        </p15:guide>
        <p15:guide id="6" pos="7446">
          <p15:clr>
            <a:srgbClr val="9FCC3B"/>
          </p15:clr>
        </p15:guide>
        <p15:guide id="7" orient="horz" pos="2244" userDrawn="1">
          <p15:clr>
            <a:srgbClr val="9FCC3B"/>
          </p15:clr>
        </p15:guide>
        <p15:guide id="8" pos="2880" userDrawn="1">
          <p15:clr>
            <a:srgbClr val="F26B43"/>
          </p15:clr>
        </p15:guide>
        <p15:guide id="9" orient="horz" pos="3851" userDrawn="1">
          <p15:clr>
            <a:srgbClr val="9FCC3B"/>
          </p15:clr>
        </p15:guide>
        <p15:guide id="10" orient="horz" pos="640" userDrawn="1">
          <p15:clr>
            <a:srgbClr val="FBAE40"/>
          </p15:clr>
        </p15:guide>
        <p15:guide id="11" pos="176" userDrawn="1">
          <p15:clr>
            <a:srgbClr val="9FCC3B"/>
          </p15:clr>
        </p15:guide>
        <p15:guide id="12" pos="5585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66734" y="810926"/>
            <a:ext cx="8669762" cy="2387600"/>
          </a:xfrm>
        </p:spPr>
        <p:txBody>
          <a:bodyPr/>
          <a:lstStyle/>
          <a:p>
            <a:r>
              <a:rPr lang="it-IT" kern="0" dirty="0" smtClean="0"/>
              <a:t/>
            </a:r>
            <a:br>
              <a:rPr lang="it-IT" kern="0" dirty="0" smtClean="0"/>
            </a:br>
            <a:r>
              <a:rPr lang="it-IT" kern="0" dirty="0" smtClean="0"/>
              <a:t>Accordo </a:t>
            </a:r>
            <a:r>
              <a:rPr lang="it-IT" kern="0" dirty="0" smtClean="0"/>
              <a:t>4 agosto 2017 </a:t>
            </a:r>
            <a:r>
              <a:rPr lang="it-IT" kern="0" dirty="0" smtClean="0"/>
              <a:t>– Allegato 3</a:t>
            </a:r>
            <a:br>
              <a:rPr lang="it-IT" kern="0" dirty="0" smtClean="0"/>
            </a:br>
            <a:r>
              <a:rPr lang="it-IT" kern="0" dirty="0" smtClean="0"/>
              <a:t>RECAPITO E LAVORAZIONI INTERNE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1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9" name="Segnaposto numero diapositiva 4"/>
          <p:cNvSpPr txBox="1">
            <a:spLocks/>
          </p:cNvSpPr>
          <p:nvPr/>
        </p:nvSpPr>
        <p:spPr>
          <a:xfrm>
            <a:off x="8664946" y="6500824"/>
            <a:ext cx="484394" cy="357187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B87FA73C-A7EE-4241-A631-441DFD16C2EB}" type="slidenum">
              <a:rPr lang="it-IT">
                <a:solidFill>
                  <a:prstClr val="white"/>
                </a:solidFill>
              </a:rPr>
              <a:pPr/>
              <a:t>1</a:t>
            </a:fld>
            <a:endParaRPr lang="it-IT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9977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3609696"/>
              </p:ext>
            </p:extLst>
          </p:nvPr>
        </p:nvGraphicFramePr>
        <p:xfrm>
          <a:off x="304800" y="1007217"/>
          <a:ext cx="3699671" cy="4856573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927058"/>
                <a:gridCol w="764403"/>
                <a:gridCol w="362384"/>
                <a:gridCol w="1645826"/>
              </a:tblGrid>
              <a:tr h="269333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AL RAM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REGIONE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PROV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CD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ALPUSTERLENGO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NDINO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NT'ANGELO LODIGIANO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RESINA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V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ARLASCO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V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RTARA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V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GHERA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ALMAGGIORE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V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TEGGIO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V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LGIOIOSO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GRATE RECAPITO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B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MERCATE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RGONZOLA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TANO PRIMO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B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CORE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ENTA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RNUSCO SUL NAVIGLIO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B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NAREGGIO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LOGNO MONZESE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CCHIARELLA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C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RATE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DATE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C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MADRERA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OSIO DELLA VALLE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C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LOLZIOCORTE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INO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NTU'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RBA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NDALO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AVENNA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SO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C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LLANO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MNAGO DI INVERIGO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VOLTELLA DEL GARDA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VE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LO'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ROLANUOVA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ARIO TERME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ARI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MEZZANE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LAZZOLO SULL'OGLIO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NO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EO</a:t>
                      </a: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graphicFrame>
        <p:nvGraphicFramePr>
          <p:cNvPr id="6" name="Tabel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6159677"/>
              </p:ext>
            </p:extLst>
          </p:nvPr>
        </p:nvGraphicFramePr>
        <p:xfrm>
          <a:off x="4665134" y="1007217"/>
          <a:ext cx="3699671" cy="2616293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927058"/>
                <a:gridCol w="764403"/>
                <a:gridCol w="362384"/>
                <a:gridCol w="1645826"/>
              </a:tblGrid>
              <a:tr h="269333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AL RAM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REGIONE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PROV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CD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ANCIACORTA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VATO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NCADELLE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ZINUOVI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HEDI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ENO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GNOLO MELLA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ARDONE VAL TROMPIA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OLO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SABBIA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IATE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TIGLIONE DELLE STIVIERE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NZAGA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N PELLEGRINO TERME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USONE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MIROLO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ADANA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VERE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OLA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SCORE BALNEARIO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RNICO</a:t>
                      </a:r>
                    </a:p>
                  </a:txBody>
                  <a:tcPr marL="0" marR="0" marT="0" marB="0" anchor="b"/>
                </a:tc>
              </a:tr>
              <a:tr h="106130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TIGLIA</a:t>
                      </a: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sp>
        <p:nvSpPr>
          <p:cNvPr id="7" name="Titolo 1"/>
          <p:cNvSpPr>
            <a:spLocks noGrp="1"/>
          </p:cNvSpPr>
          <p:nvPr>
            <p:ph type="title"/>
          </p:nvPr>
        </p:nvSpPr>
        <p:spPr>
          <a:xfrm>
            <a:off x="278607" y="35496"/>
            <a:ext cx="8623196" cy="358951"/>
          </a:xfrm>
        </p:spPr>
        <p:txBody>
          <a:bodyPr/>
          <a:lstStyle/>
          <a:p>
            <a:r>
              <a:rPr lang="it-IT" kern="0" dirty="0" smtClean="0">
                <a:solidFill>
                  <a:srgbClr val="0047A9"/>
                </a:solidFill>
              </a:rPr>
              <a:t>ESTENSIONE </a:t>
            </a:r>
            <a:r>
              <a:rPr lang="it-IT" kern="0" dirty="0">
                <a:solidFill>
                  <a:srgbClr val="0047A9"/>
                </a:solidFill>
              </a:rPr>
              <a:t>349 </a:t>
            </a:r>
            <a:r>
              <a:rPr lang="it-IT" kern="0" dirty="0" smtClean="0">
                <a:solidFill>
                  <a:srgbClr val="0047A9"/>
                </a:solidFill>
              </a:rPr>
              <a:t>Centri </a:t>
            </a:r>
            <a:r>
              <a:rPr lang="it-IT" kern="0" dirty="0">
                <a:solidFill>
                  <a:srgbClr val="0047A9"/>
                </a:solidFill>
              </a:rPr>
              <a:t>di Distribuzione interessati </a:t>
            </a:r>
            <a:r>
              <a:rPr lang="it-IT" kern="0" dirty="0" smtClean="0">
                <a:solidFill>
                  <a:srgbClr val="0047A9"/>
                </a:solidFill>
              </a:rPr>
              <a:t>(3/6)</a:t>
            </a:r>
            <a:r>
              <a:rPr lang="it-IT" kern="0" dirty="0">
                <a:solidFill>
                  <a:srgbClr val="FF3300"/>
                </a:solidFill>
              </a:rPr>
              <a:t/>
            </a:r>
            <a:br>
              <a:rPr lang="it-IT" kern="0" dirty="0">
                <a:solidFill>
                  <a:srgbClr val="FF3300"/>
                </a:solidFill>
              </a:rPr>
            </a:br>
            <a:endParaRPr lang="it-IT" dirty="0"/>
          </a:p>
        </p:txBody>
      </p:sp>
      <p:sp>
        <p:nvSpPr>
          <p:cNvPr id="8" name="Rettangolo 7"/>
          <p:cNvSpPr/>
          <p:nvPr/>
        </p:nvSpPr>
        <p:spPr>
          <a:xfrm>
            <a:off x="285748" y="410652"/>
            <a:ext cx="7877175" cy="2862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685800">
              <a:lnSpc>
                <a:spcPct val="90000"/>
              </a:lnSpc>
              <a:spcBef>
                <a:spcPts val="750"/>
              </a:spcBef>
              <a:buClr>
                <a:srgbClr val="707173"/>
              </a:buClr>
              <a:buSzPct val="120000"/>
              <a:buFont typeface="Arial" panose="020B0604020202020204" pitchFamily="34" charset="0"/>
              <a:buNone/>
            </a:pPr>
            <a:r>
              <a:rPr lang="it-IT" sz="1400" cap="all" dirty="0">
                <a:solidFill>
                  <a:srgbClr val="0047BB"/>
                </a:solidFill>
              </a:rPr>
              <a:t>Periodo di picco : potenzialmente interessati ad attività pomeridiane e il Sabato </a:t>
            </a:r>
          </a:p>
        </p:txBody>
      </p:sp>
    </p:spTree>
    <p:extLst>
      <p:ext uri="{BB962C8B-B14F-4D97-AF65-F5344CB8AC3E}">
        <p14:creationId xmlns:p14="http://schemas.microsoft.com/office/powerpoint/2010/main" val="1411754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5874108"/>
              </p:ext>
            </p:extLst>
          </p:nvPr>
        </p:nvGraphicFramePr>
        <p:xfrm>
          <a:off x="214835" y="964242"/>
          <a:ext cx="3986496" cy="4830696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927788"/>
                <a:gridCol w="1058710"/>
                <a:gridCol w="210107"/>
                <a:gridCol w="1789891"/>
              </a:tblGrid>
              <a:tr h="243456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AL RAM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REGIONE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PROV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CD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D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ELVE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D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OVE DI SACCO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ISANO VICENTINO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OSTICA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DAGNO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UPPANO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N DONA' DI PIAVE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OGGIA RECAPITO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RACLEA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RIA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TOGRUARO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CCHIOBELLO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V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EBELLUNA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V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EGLIANO RECAPITO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V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RESIANO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V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GLIANO VENETO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V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DERZO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V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TTORIO VENETO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V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NCADE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V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DOBBIADENE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L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EVE DI CADORE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tino Alto Adi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VALESE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tino Alto Adi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GINE VALSUGANA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tino Alto Adi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Z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RANO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tino Alto Adi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Z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ESSANONE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tino Alto Adi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VA DEL GARDA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tino Alto Adi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Z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A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tino Alto Adi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Z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LANDRO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tino Alto Adi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ONE DI TRENTO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tino Alto Adi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RGO VALSUGANA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tino Alto Adi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Z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USA ISARCO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tino Alto Adi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ZZOLOMBARDO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tino Alto Adi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ES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tino Alto Adi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LE'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tino Alto Adi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Z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NA ADIGE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tino Alto Adi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Z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BBIACO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tino Alto Adi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ZZANO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iuli Venezia Giu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D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MONA DEL FRIULI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iuli Venezia Giu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D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RVIGNANO DEL FRIULI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iuli Venezia Giu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N VITO AL TAGLIAMENTO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iuli Venezia Giu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D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IVIDALE DEL FRIULI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iuli Venezia Giu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CILE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iuli Venezia Giu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D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N DANIELE DEL FRIULI</a:t>
                      </a: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graphicFrame>
        <p:nvGraphicFramePr>
          <p:cNvPr id="7" name="Tabel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1691580"/>
              </p:ext>
            </p:extLst>
          </p:nvPr>
        </p:nvGraphicFramePr>
        <p:xfrm>
          <a:off x="4498968" y="964242"/>
          <a:ext cx="3986496" cy="990216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927788"/>
                <a:gridCol w="1058710"/>
                <a:gridCol w="210107"/>
                <a:gridCol w="1789891"/>
              </a:tblGrid>
              <a:tr h="243456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AL RAM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REGIONE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PROV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CD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iuli Venezia Giu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D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DROIPO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iuli Venezia Giu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FALCONE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iuli Venezia Giu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D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TISANA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iuli Venezia Giu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D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LMEZZO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iuli Venezia Giu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ILIMBERGO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iuli Venezia Giu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IAGO</a:t>
                      </a:r>
                    </a:p>
                  </a:txBody>
                  <a:tcPr marL="0" marR="0" marT="0" marB="0" anchor="b"/>
                </a:tc>
              </a:tr>
              <a:tr h="988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iuli Venezia Giu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LLA OPICINA</a:t>
                      </a: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sp>
        <p:nvSpPr>
          <p:cNvPr id="11" name="Titolo 1"/>
          <p:cNvSpPr>
            <a:spLocks noGrp="1"/>
          </p:cNvSpPr>
          <p:nvPr>
            <p:ph type="title"/>
          </p:nvPr>
        </p:nvSpPr>
        <p:spPr>
          <a:xfrm>
            <a:off x="278607" y="35496"/>
            <a:ext cx="8623196" cy="358951"/>
          </a:xfrm>
        </p:spPr>
        <p:txBody>
          <a:bodyPr/>
          <a:lstStyle/>
          <a:p>
            <a:r>
              <a:rPr lang="it-IT" kern="0" dirty="0" smtClean="0">
                <a:solidFill>
                  <a:srgbClr val="0047A9"/>
                </a:solidFill>
              </a:rPr>
              <a:t>ESTENSIONE </a:t>
            </a:r>
            <a:r>
              <a:rPr lang="it-IT" kern="0" dirty="0">
                <a:solidFill>
                  <a:srgbClr val="0047A9"/>
                </a:solidFill>
              </a:rPr>
              <a:t>349 </a:t>
            </a:r>
            <a:r>
              <a:rPr lang="it-IT" kern="0" dirty="0" smtClean="0">
                <a:solidFill>
                  <a:srgbClr val="0047A9"/>
                </a:solidFill>
              </a:rPr>
              <a:t>Centri </a:t>
            </a:r>
            <a:r>
              <a:rPr lang="it-IT" kern="0" dirty="0">
                <a:solidFill>
                  <a:srgbClr val="0047A9"/>
                </a:solidFill>
              </a:rPr>
              <a:t>di Distribuzione interessati </a:t>
            </a:r>
            <a:r>
              <a:rPr lang="it-IT" kern="0" dirty="0" smtClean="0">
                <a:solidFill>
                  <a:srgbClr val="0047A9"/>
                </a:solidFill>
              </a:rPr>
              <a:t>(4/6)</a:t>
            </a:r>
            <a:r>
              <a:rPr lang="it-IT" kern="0" dirty="0">
                <a:solidFill>
                  <a:srgbClr val="FF3300"/>
                </a:solidFill>
              </a:rPr>
              <a:t/>
            </a:r>
            <a:br>
              <a:rPr lang="it-IT" kern="0" dirty="0">
                <a:solidFill>
                  <a:srgbClr val="FF3300"/>
                </a:solidFill>
              </a:rPr>
            </a:br>
            <a:endParaRPr lang="it-IT" dirty="0"/>
          </a:p>
        </p:txBody>
      </p:sp>
      <p:sp>
        <p:nvSpPr>
          <p:cNvPr id="12" name="Rettangolo 11"/>
          <p:cNvSpPr/>
          <p:nvPr/>
        </p:nvSpPr>
        <p:spPr>
          <a:xfrm>
            <a:off x="285748" y="401127"/>
            <a:ext cx="7877175" cy="2862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685800">
              <a:lnSpc>
                <a:spcPct val="90000"/>
              </a:lnSpc>
              <a:spcBef>
                <a:spcPts val="750"/>
              </a:spcBef>
              <a:buClr>
                <a:srgbClr val="707173"/>
              </a:buClr>
              <a:buSzPct val="120000"/>
              <a:buFont typeface="Arial" panose="020B0604020202020204" pitchFamily="34" charset="0"/>
              <a:buNone/>
            </a:pPr>
            <a:r>
              <a:rPr lang="it-IT" sz="1400" cap="all" dirty="0">
                <a:solidFill>
                  <a:srgbClr val="0047BB"/>
                </a:solidFill>
              </a:rPr>
              <a:t>Periodo di picco : potenzialmente interessati ad attività pomeridiane e il Sabato </a:t>
            </a:r>
          </a:p>
        </p:txBody>
      </p:sp>
    </p:spTree>
    <p:extLst>
      <p:ext uri="{BB962C8B-B14F-4D97-AF65-F5344CB8AC3E}">
        <p14:creationId xmlns:p14="http://schemas.microsoft.com/office/powerpoint/2010/main" val="300756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5768577"/>
              </p:ext>
            </p:extLst>
          </p:nvPr>
        </p:nvGraphicFramePr>
        <p:xfrm>
          <a:off x="526208" y="946989"/>
          <a:ext cx="3643064" cy="4706381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912813"/>
                <a:gridCol w="752724"/>
                <a:gridCol w="356847"/>
                <a:gridCol w="1620680"/>
              </a:tblGrid>
              <a:tr h="243461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L RAM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REGIONE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OV</a:t>
                      </a:r>
                      <a:endParaRPr lang="it-IT" sz="700" b="1" i="0" u="none" strike="noStrike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D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IVREA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ORBASSANO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CARMAGNOLA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RIVAROLO CANAVESE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LUSERNA SAN GIOVANNI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CALUSO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LANZO TORINESE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CHIVASSO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SA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AVIGLIANA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CASTELLAMONTE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CUORGNE'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GIAVENO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EROSA ARGENTINA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AN SEBASTIANO PO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C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AVIGLIANO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C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MONDOVI' BREO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C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ALUZZO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C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BUSCA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C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FOSSANO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A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CANELLI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Valle d'Aost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A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CHATILLON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Valle d'Aost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A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VERRES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Valle d'Aost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A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COURMAYEUR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C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CEVA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A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IZZA MONFERRATO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GALLIATE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VC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ANTHIA'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VB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OMEGNA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B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COSSATO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ARONA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Ligu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P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ARZANA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Ligu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ESTRI LEVANTE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Ligu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CHIAVARI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Ligu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P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CEPARANA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Ligu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ARENZANO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Ligu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BUSALLA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AL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VI LIGURE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Ligu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IM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VENTIMIGLIA 2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Ligu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IM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ANREMO RECAPITO</a:t>
                      </a: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graphicFrame>
        <p:nvGraphicFramePr>
          <p:cNvPr id="6" name="Tabel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448374"/>
              </p:ext>
            </p:extLst>
          </p:nvPr>
        </p:nvGraphicFramePr>
        <p:xfrm>
          <a:off x="4666408" y="946989"/>
          <a:ext cx="3643064" cy="1359191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912813"/>
                <a:gridCol w="752724"/>
                <a:gridCol w="356847"/>
                <a:gridCol w="1620680"/>
              </a:tblGrid>
              <a:tr h="243461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L RAM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REGIONE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OV</a:t>
                      </a:r>
                      <a:endParaRPr lang="it-IT" sz="700" b="1" i="0" u="none" strike="noStrike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D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Ligu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V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ALBISOLA SUPERIORE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AL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TORTONA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AL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ACQUI TERME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Ligu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V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ALASSIO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AL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CASALE MONFERRATO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AL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VALENZA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AL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OVADA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Ligu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V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LOANO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Ligu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V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IETRA LIGURE</a:t>
                      </a:r>
                    </a:p>
                  </a:txBody>
                  <a:tcPr marL="0" marR="0" marT="0" marB="0" anchor="b"/>
                </a:tc>
              </a:tr>
              <a:tr h="111573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RD OV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Ligu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V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CAIRO MONTENOTTE</a:t>
                      </a: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sp>
        <p:nvSpPr>
          <p:cNvPr id="7" name="Titolo 1"/>
          <p:cNvSpPr>
            <a:spLocks noGrp="1"/>
          </p:cNvSpPr>
          <p:nvPr>
            <p:ph type="title"/>
          </p:nvPr>
        </p:nvSpPr>
        <p:spPr>
          <a:xfrm>
            <a:off x="278607" y="35496"/>
            <a:ext cx="8623196" cy="358951"/>
          </a:xfrm>
        </p:spPr>
        <p:txBody>
          <a:bodyPr/>
          <a:lstStyle/>
          <a:p>
            <a:r>
              <a:rPr lang="it-IT" kern="0" dirty="0" smtClean="0">
                <a:solidFill>
                  <a:srgbClr val="0047A9"/>
                </a:solidFill>
              </a:rPr>
              <a:t>ESTENSIONE </a:t>
            </a:r>
            <a:r>
              <a:rPr lang="it-IT" kern="0" dirty="0">
                <a:solidFill>
                  <a:srgbClr val="0047A9"/>
                </a:solidFill>
              </a:rPr>
              <a:t>349 </a:t>
            </a:r>
            <a:r>
              <a:rPr lang="it-IT" kern="0" dirty="0" smtClean="0">
                <a:solidFill>
                  <a:srgbClr val="0047A9"/>
                </a:solidFill>
              </a:rPr>
              <a:t>Centri </a:t>
            </a:r>
            <a:r>
              <a:rPr lang="it-IT" kern="0" dirty="0">
                <a:solidFill>
                  <a:srgbClr val="0047A9"/>
                </a:solidFill>
              </a:rPr>
              <a:t>di Distribuzione interessati </a:t>
            </a:r>
            <a:r>
              <a:rPr lang="it-IT" kern="0" dirty="0" smtClean="0">
                <a:solidFill>
                  <a:srgbClr val="0047A9"/>
                </a:solidFill>
              </a:rPr>
              <a:t>(5/6)</a:t>
            </a:r>
            <a:r>
              <a:rPr lang="it-IT" kern="0" dirty="0">
                <a:solidFill>
                  <a:srgbClr val="FF3300"/>
                </a:solidFill>
              </a:rPr>
              <a:t/>
            </a:r>
            <a:br>
              <a:rPr lang="it-IT" kern="0" dirty="0">
                <a:solidFill>
                  <a:srgbClr val="FF3300"/>
                </a:solidFill>
              </a:rPr>
            </a:br>
            <a:endParaRPr lang="it-IT" dirty="0"/>
          </a:p>
        </p:txBody>
      </p:sp>
      <p:sp>
        <p:nvSpPr>
          <p:cNvPr id="8" name="Rettangolo 7"/>
          <p:cNvSpPr/>
          <p:nvPr/>
        </p:nvSpPr>
        <p:spPr>
          <a:xfrm>
            <a:off x="285748" y="410652"/>
            <a:ext cx="7877175" cy="2862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685800">
              <a:lnSpc>
                <a:spcPct val="90000"/>
              </a:lnSpc>
              <a:spcBef>
                <a:spcPts val="750"/>
              </a:spcBef>
              <a:buClr>
                <a:srgbClr val="707173"/>
              </a:buClr>
              <a:buSzPct val="120000"/>
              <a:buFont typeface="Arial" panose="020B0604020202020204" pitchFamily="34" charset="0"/>
              <a:buNone/>
            </a:pPr>
            <a:r>
              <a:rPr lang="it-IT" sz="1400" cap="all" dirty="0">
                <a:solidFill>
                  <a:srgbClr val="0047BB"/>
                </a:solidFill>
              </a:rPr>
              <a:t>Periodo di picco : potenzialmente interessati ad attività pomeridiane e il Sabato </a:t>
            </a:r>
          </a:p>
        </p:txBody>
      </p:sp>
    </p:spTree>
    <p:extLst>
      <p:ext uri="{BB962C8B-B14F-4D97-AF65-F5344CB8AC3E}">
        <p14:creationId xmlns:p14="http://schemas.microsoft.com/office/powerpoint/2010/main" val="3692357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el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7456952"/>
              </p:ext>
            </p:extLst>
          </p:nvPr>
        </p:nvGraphicFramePr>
        <p:xfrm>
          <a:off x="285748" y="998753"/>
          <a:ext cx="4070591" cy="414747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957786"/>
                <a:gridCol w="858193"/>
                <a:gridCol w="406847"/>
                <a:gridCol w="1847765"/>
              </a:tblGrid>
              <a:tr h="200319"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L RAM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REGIONE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OV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D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B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ACQUAVIVA DELLE FONTI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B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TIGNANO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B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MONOPOLI CENTRO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F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MANFREDONIA RECAPITO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F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CERIGNOLA RECAPITO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F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AN SEVERO RECAPITO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B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ALTAMURA RECAPITO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B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BITONTO RECAPITO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B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CORATO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B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MOLFETTA RECAPITO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B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TRIGGIANO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B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OICATTARO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B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CANOSA DI PUGLIA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F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LUCERA CENTRO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T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GROTTAGLIE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T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MANDURIA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L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TRICASE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B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OSTUNI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L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COPERTINO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B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MESAGNE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L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GALATINA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T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MASSAFRA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L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CAMPI SALENTINA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Basilicat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Z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VENOSA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L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NARDO'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L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GALLIPOLI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B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FRANCAVILLA FONTANA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B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FASANO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L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MAGLIE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L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MARTANO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B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AN PIETRO VERNOTICO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Basilicat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Z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LAURIA INFERIORE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Basilicat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M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OLICORO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Basilicat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Z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ENISE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Basilicat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M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MONTALBANO JONICO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Basilicat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PZ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VIGGIANO</a:t>
                      </a:r>
                    </a:p>
                  </a:txBody>
                  <a:tcPr marL="0" marR="0" marT="0" marB="0" anchor="b"/>
                </a:tc>
              </a:tr>
              <a:tr h="945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Basilicat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M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n-lt"/>
                        </a:rPr>
                        <a:t>FERRANDINA</a:t>
                      </a: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graphicFrame>
        <p:nvGraphicFramePr>
          <p:cNvPr id="6" name="Tabel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0942464"/>
              </p:ext>
            </p:extLst>
          </p:nvPr>
        </p:nvGraphicFramePr>
        <p:xfrm>
          <a:off x="4766043" y="1007371"/>
          <a:ext cx="3664286" cy="339416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862185"/>
                <a:gridCol w="772533"/>
                <a:gridCol w="366238"/>
                <a:gridCol w="1663330"/>
              </a:tblGrid>
              <a:tr h="183074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AL RAM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REGIONE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PROV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CD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TICI RECAPIT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LIANO IN CAMPANIA RECAPIT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A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CERA SUPERIORE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AFATI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ROPOLI</a:t>
                      </a:r>
                    </a:p>
                  </a:txBody>
                  <a:tcPr marL="0" marR="0" marT="0" marB="0" anchor="b"/>
                </a:tc>
              </a:tr>
              <a:tr h="119345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VA DEI TIRRENI RECAPIT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LO DELLA LUCANIA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LESE TERME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DDALONI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NTE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TAVILLA IRPINA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NTA MARIA CAPUA VETERE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TTIPAGLIA RECAPIT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EDIMONTE MATESE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NT'ANGELO DEI LOMBARDI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DRAGONE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GNATARO MAGGIORE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SSA AURUNCA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N CIPRIANO D'AVERSA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CIANISE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lab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SSANO STAZIONE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lab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Z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VERAT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lab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ALEA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lab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TROVILLARI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lab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MANTEA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lab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OLA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lab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RIGLIANO CALABRO STAZIONE</a:t>
                      </a: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graphicFrame>
        <p:nvGraphicFramePr>
          <p:cNvPr id="7" name="Tabel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2438172"/>
              </p:ext>
            </p:extLst>
          </p:nvPr>
        </p:nvGraphicFramePr>
        <p:xfrm>
          <a:off x="4733673" y="4653287"/>
          <a:ext cx="3664286" cy="121365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862185"/>
                <a:gridCol w="772533"/>
                <a:gridCol w="366238"/>
                <a:gridCol w="1663330"/>
              </a:tblGrid>
              <a:tr h="183074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AL RAM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REGIONE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PROV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CD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 smtClean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2 RAM 1</a:t>
                      </a:r>
                      <a:endParaRPr lang="it-IT" sz="700" b="0" i="0" u="none" strike="noStrike" dirty="0">
                        <a:solidFill>
                          <a:srgbClr val="706F6E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ci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ARRE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2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ci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IREALE RECAPIT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2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ci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TERNO'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2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ci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I SANT'ANTONI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2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ci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LAZZ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2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ci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NTINI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2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ci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GHERIA RECAPIT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2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ci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P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CAM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2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ci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RINI</a:t>
                      </a: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sp>
        <p:nvSpPr>
          <p:cNvPr id="13" name="Titolo 1"/>
          <p:cNvSpPr>
            <a:spLocks noGrp="1"/>
          </p:cNvSpPr>
          <p:nvPr>
            <p:ph type="title"/>
          </p:nvPr>
        </p:nvSpPr>
        <p:spPr>
          <a:xfrm>
            <a:off x="278607" y="35496"/>
            <a:ext cx="8623196" cy="358951"/>
          </a:xfrm>
        </p:spPr>
        <p:txBody>
          <a:bodyPr/>
          <a:lstStyle/>
          <a:p>
            <a:r>
              <a:rPr lang="it-IT" kern="0" dirty="0" smtClean="0">
                <a:solidFill>
                  <a:srgbClr val="0047A9"/>
                </a:solidFill>
              </a:rPr>
              <a:t>ESTENSIONE </a:t>
            </a:r>
            <a:r>
              <a:rPr lang="it-IT" kern="0" dirty="0">
                <a:solidFill>
                  <a:srgbClr val="0047A9"/>
                </a:solidFill>
              </a:rPr>
              <a:t>349 </a:t>
            </a:r>
            <a:r>
              <a:rPr lang="it-IT" kern="0" dirty="0" smtClean="0">
                <a:solidFill>
                  <a:srgbClr val="0047A9"/>
                </a:solidFill>
              </a:rPr>
              <a:t>Centri </a:t>
            </a:r>
            <a:r>
              <a:rPr lang="it-IT" kern="0" dirty="0">
                <a:solidFill>
                  <a:srgbClr val="0047A9"/>
                </a:solidFill>
              </a:rPr>
              <a:t>di Distribuzione interessati </a:t>
            </a:r>
            <a:r>
              <a:rPr lang="it-IT" kern="0" dirty="0" smtClean="0">
                <a:solidFill>
                  <a:srgbClr val="0047A9"/>
                </a:solidFill>
              </a:rPr>
              <a:t>(6/6)</a:t>
            </a:r>
            <a:r>
              <a:rPr lang="it-IT" kern="0" dirty="0">
                <a:solidFill>
                  <a:srgbClr val="FF3300"/>
                </a:solidFill>
              </a:rPr>
              <a:t/>
            </a:r>
            <a:br>
              <a:rPr lang="it-IT" kern="0" dirty="0">
                <a:solidFill>
                  <a:srgbClr val="FF3300"/>
                </a:solidFill>
              </a:rPr>
            </a:br>
            <a:endParaRPr lang="it-IT" dirty="0"/>
          </a:p>
        </p:txBody>
      </p:sp>
      <p:sp>
        <p:nvSpPr>
          <p:cNvPr id="14" name="Rettangolo 13"/>
          <p:cNvSpPr/>
          <p:nvPr/>
        </p:nvSpPr>
        <p:spPr>
          <a:xfrm>
            <a:off x="285748" y="429702"/>
            <a:ext cx="7877175" cy="2862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685800">
              <a:lnSpc>
                <a:spcPct val="90000"/>
              </a:lnSpc>
              <a:spcBef>
                <a:spcPts val="750"/>
              </a:spcBef>
              <a:buClr>
                <a:srgbClr val="707173"/>
              </a:buClr>
              <a:buSzPct val="120000"/>
              <a:buFont typeface="Arial" panose="020B0604020202020204" pitchFamily="34" charset="0"/>
              <a:buNone/>
            </a:pPr>
            <a:r>
              <a:rPr lang="it-IT" sz="1400" cap="all" dirty="0">
                <a:solidFill>
                  <a:srgbClr val="0047BB"/>
                </a:solidFill>
              </a:rPr>
              <a:t>Periodo di picco : potenzialmente interessati ad attività pomeridiane e il Sabato </a:t>
            </a:r>
          </a:p>
        </p:txBody>
      </p:sp>
    </p:spTree>
    <p:extLst>
      <p:ext uri="{BB962C8B-B14F-4D97-AF65-F5344CB8AC3E}">
        <p14:creationId xmlns:p14="http://schemas.microsoft.com/office/powerpoint/2010/main" val="1670303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78606" y="35496"/>
            <a:ext cx="8865393" cy="358951"/>
          </a:xfrm>
        </p:spPr>
        <p:txBody>
          <a:bodyPr/>
          <a:lstStyle/>
          <a:p>
            <a:r>
              <a:rPr lang="it-IT" kern="0" dirty="0">
                <a:solidFill>
                  <a:srgbClr val="0047A9"/>
                </a:solidFill>
              </a:rPr>
              <a:t>Elenco </a:t>
            </a:r>
            <a:r>
              <a:rPr lang="it-IT" kern="0" dirty="0" smtClean="0">
                <a:solidFill>
                  <a:srgbClr val="0047A9"/>
                </a:solidFill>
              </a:rPr>
              <a:t>131 Centri </a:t>
            </a:r>
            <a:r>
              <a:rPr lang="it-IT" kern="0" dirty="0">
                <a:solidFill>
                  <a:srgbClr val="0047A9"/>
                </a:solidFill>
              </a:rPr>
              <a:t>di Distribuzione </a:t>
            </a:r>
            <a:r>
              <a:rPr lang="it-IT" kern="0" dirty="0" smtClean="0">
                <a:solidFill>
                  <a:srgbClr val="0047A9"/>
                </a:solidFill>
              </a:rPr>
              <a:t>attualmente abilitati</a:t>
            </a:r>
            <a:endParaRPr lang="it-IT" dirty="0"/>
          </a:p>
        </p:txBody>
      </p:sp>
      <p:graphicFrame>
        <p:nvGraphicFramePr>
          <p:cNvPr id="6" name="Tabel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4947845"/>
              </p:ext>
            </p:extLst>
          </p:nvPr>
        </p:nvGraphicFramePr>
        <p:xfrm>
          <a:off x="4408158" y="1135333"/>
          <a:ext cx="4251448" cy="4618309"/>
        </p:xfrm>
        <a:graphic>
          <a:graphicData uri="http://schemas.openxmlformats.org/drawingml/2006/table">
            <a:tbl>
              <a:tblPr>
                <a:tableStyleId>{ED083AE6-46FA-4A59-8FB0-9F97EB10719F}</a:tableStyleId>
              </a:tblPr>
              <a:tblGrid>
                <a:gridCol w="967369"/>
                <a:gridCol w="1023873"/>
                <a:gridCol w="379714"/>
                <a:gridCol w="1880492"/>
              </a:tblGrid>
              <a:tr h="135685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AL RAM</a:t>
                      </a:r>
                      <a:endParaRPr lang="it-IT" sz="700" b="1" i="1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REGIONE</a:t>
                      </a:r>
                      <a:endParaRPr lang="it-IT" sz="700" b="1" i="1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PROV</a:t>
                      </a:r>
                      <a:endParaRPr lang="it-IT" sz="700" b="1" i="1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CD</a:t>
                      </a:r>
                      <a:endParaRPr lang="it-IT" sz="700" b="1" i="1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CENTRO 1 RAM 1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TOSCAN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F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FIRENZE RECAPITO CAMPO DI MARTE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1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TOSCAN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F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FIRENZE RECAPITO GAVINAN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CENTRO 1 RAM 1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TOSCAN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F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FIRENZE RECAPITO NOVOLI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1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TOSCAN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F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FIRENZE RECAPITO SOFFIAN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1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TOSCAN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F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FIRENZE RECAPITO VITTOR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1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TOSCAN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PT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ISTOIA RECAPITO PRATES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1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TOSCAN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PT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ISTOIA RECAPITO PRATESE BIS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1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TOSCAN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SIENA RECAPITO SCLAV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40704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1 RAM 2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TOSCAN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GR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GROSSETO RECAPITO MARCONI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1 RAM 2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TOSCAN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U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LUCCA RECAPITO PIAGGI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1 RAM 2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TOSCAN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MS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CARRARA RECAPI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1 RAM 2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TOSCAN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MS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MASSA RECAPITO CARDUCCI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1 RAM 2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TOSCAN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PISA RECAPITO OSPEDALET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1 RAM 3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UMBRI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G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ERUGIA RECAPITO CITTA'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1 RAM 3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UMBRI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PG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PERUGIA RECAPITO EST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NORD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EMILIA ROMAGN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B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BOLOGNA RECAPITO EMILIA LEVANTE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NORD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EMILIA ROMAGN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B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BOLOGNA RECAPITO EMILIA PONENTE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NORD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EMILIA ROMAGN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B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BOLOGNA RECAPITO NORD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NORD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EMILIA ROMAGN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B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BOLOGNA RECAPITO ROVERI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CENTRO NORD RAM 1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EMILIA ROMAGN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M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MODENA RECAPI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CENTRO NORD RAM 1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EMILIA ROMAGN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M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 smtClean="0">
                          <a:effectLst/>
                        </a:rPr>
                        <a:t>CARPI RECAPI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CENTRO NORD RAM 2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EMILIA ROMAGN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FC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CESENA RECAPI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NORD RAM 2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EMILIA ROMAGN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FC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FORLI' RECAPITO VOLT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NORD RAM 2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EMILIA ROMAGN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F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FERRARA RECAPITO CENTR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NORD RAM 2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EMILIA ROMAGN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F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FERRARA RECAPITO SUD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NORD RAM 2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EMILIA ROMAGN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R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RAVENNA RECAPITO MEUCCI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NORD RAM 2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EMILIA ROMAGN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RN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RIMINI RECAPITO NORD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NORD RAM 2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EMILIA ROMAGN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RN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RIMINI RECAPITO SUD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NORD RAM 3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EMILIA ROMAGN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C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PIACENZA RECAPITO MARCONI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NORD RAM 3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EMILIA ROMAGN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R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PARMA RECAPI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NORD RAM 3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EMILIA ROMAGN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R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REGGIO EMILIA RECAPI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NORD RAM 4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MARCH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AN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ANCONA RECAPITO MARCONI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35685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CENTRO NORD RAM 4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MARCH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U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PESARO RECAPITO CACCIATORI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graphicFrame>
        <p:nvGraphicFramePr>
          <p:cNvPr id="7" name="Tabel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4662770"/>
              </p:ext>
            </p:extLst>
          </p:nvPr>
        </p:nvGraphicFramePr>
        <p:xfrm>
          <a:off x="95686" y="1103313"/>
          <a:ext cx="4152463" cy="5120640"/>
        </p:xfrm>
        <a:graphic>
          <a:graphicData uri="http://schemas.openxmlformats.org/drawingml/2006/table">
            <a:tbl>
              <a:tblPr>
                <a:tableStyleId>{ED083AE6-46FA-4A59-8FB0-9F97EB10719F}</a:tableStyleId>
              </a:tblPr>
              <a:tblGrid>
                <a:gridCol w="944846"/>
                <a:gridCol w="1000034"/>
                <a:gridCol w="302584"/>
                <a:gridCol w="1904999"/>
              </a:tblGrid>
              <a:tr h="10521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AL RAM</a:t>
                      </a:r>
                      <a:endParaRPr lang="it-IT" sz="700" b="1" i="1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REGIONE</a:t>
                      </a:r>
                      <a:endParaRPr lang="it-IT" sz="700" b="1" i="1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PROV</a:t>
                      </a:r>
                      <a:endParaRPr lang="it-IT" sz="700" b="1" i="1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CD</a:t>
                      </a:r>
                      <a:endParaRPr lang="it-IT" sz="700" b="1" i="1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CENTRO RAM 1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LAZI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RM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ROMA RECAPITO ACILI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LAZI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RM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ROMA RECAPITO APPI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LAZI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RM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ROMA RECAPITO BELSIT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LAZI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RM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ROMA RECAPITO BRAVETT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LAZI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RM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ROMA RECAPITO CASILIN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AZI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RM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ROMA RECAPITO CENTR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LAZI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RM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ROMA RECAPITO CINECITTA' EST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LAZI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RM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ROMA RECAPITO ESQUILIN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LAZI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RM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ROMA RECAPITO EUR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AZI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RM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ROMA RECAPITO LAURENTIN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210436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AZI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RM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ROMA RECAPITO LIDO DI OSTIA DEL GREC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AZI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RM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ROMA RECAPITO MONTESACR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AZI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RM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ROMA RECAPITO OSTIENS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AZI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RM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ROMA RECAPITO PRAT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AZI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RM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ROMA RECAPITO PRIMA PORT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AZI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RM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ROMA RECAPITO SPINACE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AZI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RM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ROMA RECAPITO TIBURTINO SUD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AZI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RM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ROMA RECAPITO TRULL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RAM 3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ABRUZZ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AQ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L'AQUILA RECAPITO CENTI COLELL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RAM 3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ABRUZZ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PESCARA RECAPITO VOLT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RAM 4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ARDEGN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AGLIARI RECAPITO EST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ENTRO RAM 4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ARDEGN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CAGLIARI RECAPITO OVEST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LODI RECAPITO FASCETTI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M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MILANO RECAPITO BAGGI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M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MILANO RECAPITO BOVIS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M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MILANO RECAPITO CENTR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M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MILANO RECAPITO CORVET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M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MILANO RECAPITO ISOL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M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MILANO RECAPITO LAMBRATE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M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MILANO RECAPITO PRECOT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M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MILANO RECAPITO TICINESE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V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PAVIA RECAPITO BRAMBILL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V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VIGEVANO RECAPI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 RAM 2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MB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CARATE BRIANZ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LOMBARDIA RAM 2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LOMBARDI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MB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 smtClean="0">
                          <a:effectLst/>
                        </a:rPr>
                        <a:t>BRUGHERI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LOMBARDIA RAM 2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LOMBARDI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MB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MONZA RECAPI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 RAM 2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M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CINISELLO BALSAMO RECAPI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 RAM 2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M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LEGNANO RECAPI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 RAM 2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M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RHO RECAPI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 RAM 2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M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SESTO SAN GIOVANNI RECAPI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 RAM 3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COMO RECAPITO GALLI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 RAM 3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V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BUSTO ARSIZIO RECAPI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 RAM 3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V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GALLARATE RECAPI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 RAM 3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V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VARESE RECAPITO BELFORTE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 RAM 4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BS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BRESCIA RECAPITO DALMAZI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05218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OMBARDIA RAM 5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LOMBARDI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BG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BERGAMO RECAPITO BUTTAR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sp>
        <p:nvSpPr>
          <p:cNvPr id="9" name="Rettangolo 8"/>
          <p:cNvSpPr/>
          <p:nvPr/>
        </p:nvSpPr>
        <p:spPr>
          <a:xfrm>
            <a:off x="285748" y="363027"/>
            <a:ext cx="7877175" cy="2862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685800">
              <a:lnSpc>
                <a:spcPct val="90000"/>
              </a:lnSpc>
              <a:spcBef>
                <a:spcPts val="750"/>
              </a:spcBef>
              <a:buClr>
                <a:srgbClr val="707173"/>
              </a:buClr>
              <a:buSzPct val="120000"/>
              <a:buFont typeface="Arial" panose="020B0604020202020204" pitchFamily="34" charset="0"/>
              <a:buNone/>
            </a:pPr>
            <a:r>
              <a:rPr lang="it-IT" sz="1400" cap="all" dirty="0">
                <a:solidFill>
                  <a:srgbClr val="0047BB"/>
                </a:solidFill>
              </a:rPr>
              <a:t>E potenzialmente interessati ad attività pomeridiane e il Sabato(1/2)</a:t>
            </a:r>
          </a:p>
        </p:txBody>
      </p:sp>
    </p:spTree>
    <p:extLst>
      <p:ext uri="{BB962C8B-B14F-4D97-AF65-F5344CB8AC3E}">
        <p14:creationId xmlns:p14="http://schemas.microsoft.com/office/powerpoint/2010/main" val="1498643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8023184"/>
              </p:ext>
            </p:extLst>
          </p:nvPr>
        </p:nvGraphicFramePr>
        <p:xfrm>
          <a:off x="120650" y="1185863"/>
          <a:ext cx="4387850" cy="4587240"/>
        </p:xfrm>
        <a:graphic>
          <a:graphicData uri="http://schemas.openxmlformats.org/drawingml/2006/table">
            <a:tbl>
              <a:tblPr>
                <a:tableStyleId>{ED083AE6-46FA-4A59-8FB0-9F97EB10719F}</a:tableStyleId>
              </a:tblPr>
              <a:tblGrid>
                <a:gridCol w="997800"/>
                <a:gridCol w="1056082"/>
                <a:gridCol w="391659"/>
                <a:gridCol w="1942309"/>
              </a:tblGrid>
              <a:tr h="85431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AL RAM</a:t>
                      </a:r>
                      <a:endParaRPr lang="it-IT" sz="700" b="1" i="1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REGIONE</a:t>
                      </a:r>
                      <a:endParaRPr lang="it-IT" sz="700" b="1" i="1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PROV</a:t>
                      </a:r>
                      <a:endParaRPr lang="it-IT" sz="700" b="1" i="1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CD</a:t>
                      </a:r>
                      <a:endParaRPr lang="it-IT" sz="700" b="1" i="1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NORD EST RAM 1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VENET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D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CITTADELL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NORD EST RAM 1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VENE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D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ADOVA RECAPITO ANTENOR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NORD EST RAM 1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VENE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D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ADOVA RECAPITO ANTENORE BIS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NORD EST RAM 1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VENE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D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PADOVA RECAPITO SANT'ANTONI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EST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VENE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V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VICENZA RECAPITO SAN LAZZAR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EST RAM 2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VENET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V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VENEZIA RECAPITO MESTR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EST RAM 2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VENE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V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VENEZIA RECAPITO MESTRE 2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EST RAM 2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VENET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V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VENEZIA RECAPITO SAN MARC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EST RAM 3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VENE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BL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BELLUNO RECAPITO CASTELL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EST RAM 3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VENE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TV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TREVISO RECAPITO DUCA D'AOST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EST RAM 4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VENET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VR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VERONA RECAPITO VIVIAN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EST RAM 4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VENE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VR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VERONA RECAPITO VIVIANI BIS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EST RAM 5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FRIULI VENEZIA GIULI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TS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TRIESTE RECAPITO CASAL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EST RAM 5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FRIULI VENEZIA GIULI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TS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TRIESTE RECAPITO CASALE BIS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EST RAM 5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FRIULI VENEZIA GIULI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UD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UDINE RECAPITO EUROP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OVEST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IEMONT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T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TORINO RECAPITO GROSSET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OVEST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IEMONT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T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TORINO RECAPITO MARSIGL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OVEST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IEMONT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TORINO RECAPITO MONTEVERD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OVEST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IEMONT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T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TORINO RECAPITO NIZZ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OVEST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IEMONT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T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TORINO RECAPITO REISS ROMOL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OVEST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IEMONT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T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TORINO RECAPITO TAZZOL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OVEST RAM 3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IEMONT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B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BIELLA RECAPITO MICC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NORD OVEST RAM 3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IEMONT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NOVARA RECAPITO MONTEROS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OVEST RAM 3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IEMONT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NOVARA RECAPITO MONTEROSA BIS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OVEST RAM 4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IGUR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G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GENOVA RECAPITO CATALANI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OVEST RAM 4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IGUR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G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GENOVA RECAPITO MURA ZINGARI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OVEST RAM 4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IGUR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G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GENOVA RECAPITO ORSINI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OVEST RAM 4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IGUR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G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GENOVA RECAPITO PONENTE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OVEST RAM 4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IGUR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G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GENOVA RECAPITO PRA'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OVEST RAM 4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IGUR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G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GENOVA RECAPITO TERRALB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OVEST RAM 4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IGUR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G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GENOVA RECAPITO VALBISAGN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ORD OVEST RAM 4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LIGUR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GE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GENOVA RECAPITO VALPOLCEVER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UD 1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UGL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B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BARI RECAPITO CARRASSI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UD 1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UGL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B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BARI RECAPITO POGGIOFRANC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UD 1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UGL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B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BARI RECAPITO SAN PAOL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UD 2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ICIL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T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CATANIA RECAPITO ALLA REN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UD 2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ICIL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T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CATANIA RECAPITO FERRARI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UD 2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ICIL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T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CATANIA RECAPITO RAPISARDI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UD 2 RAM 2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ICIL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PALERMO RECAPITO AUSONI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UD 2 RAM 2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ICIL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PALERMO RECAPITO CENTR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UD 2 RAM 2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ICIL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PALERMO RECAPITO LA MALF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UD 2 RAM 2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ICIL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P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PALERMO RECAPITO SPERONE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429260"/>
              </p:ext>
            </p:extLst>
          </p:nvPr>
        </p:nvGraphicFramePr>
        <p:xfrm>
          <a:off x="4747079" y="1157288"/>
          <a:ext cx="4126139" cy="1173480"/>
        </p:xfrm>
        <a:graphic>
          <a:graphicData uri="http://schemas.openxmlformats.org/drawingml/2006/table">
            <a:tbl>
              <a:tblPr>
                <a:tableStyleId>{ED083AE6-46FA-4A59-8FB0-9F97EB10719F}</a:tableStyleId>
              </a:tblPr>
              <a:tblGrid>
                <a:gridCol w="997800"/>
                <a:gridCol w="1056082"/>
                <a:gridCol w="391659"/>
                <a:gridCol w="1680598"/>
              </a:tblGrid>
              <a:tr h="85431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AL RAM</a:t>
                      </a:r>
                      <a:endParaRPr lang="it-IT" sz="700" b="1" i="1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REGIONE</a:t>
                      </a:r>
                      <a:endParaRPr lang="it-IT" sz="700" b="1" i="1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PROV</a:t>
                      </a:r>
                      <a:endParaRPr lang="it-IT" sz="700" b="1" i="1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CD</a:t>
                      </a:r>
                      <a:endParaRPr lang="it-IT" sz="700" b="1" i="1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SUD RAM 1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CAMPANI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APOLI RECAPITO BARR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SUD RAM 1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AMPAN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APOLI RECAPITO COLLI AMINE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SUD RAM 1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CAMPANI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APOLI RECAPITO FUORIGROTT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SUD RAM 1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CAMPANI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APOLI RECAPITO MATTEOTTI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UD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CAMPANI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APOLI RECAPITO MERGELLIN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UD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CAMPANI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NAPOLI RECAPITO MERIDIONALE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UD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CAMPANI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NAPOLI RECAPITO SECONDIGLIAN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UD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CAMPANI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N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NAPOLI RECAPITO SOCCAVO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UD RAM 1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AMPAN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NA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NAPOLI RECAPITO VOMER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5431"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UD RAM 2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CAMPANI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>
                          <a:effectLst/>
                        </a:rPr>
                        <a:t>SA</a:t>
                      </a: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u="none" strike="noStrike" dirty="0">
                          <a:effectLst/>
                        </a:rPr>
                        <a:t>SALERNO RECAPITO PARADISO</a:t>
                      </a:r>
                      <a:endParaRPr lang="it-IT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sp>
        <p:nvSpPr>
          <p:cNvPr id="12" name="Titolo 1"/>
          <p:cNvSpPr>
            <a:spLocks noGrp="1"/>
          </p:cNvSpPr>
          <p:nvPr>
            <p:ph type="title"/>
          </p:nvPr>
        </p:nvSpPr>
        <p:spPr>
          <a:xfrm>
            <a:off x="278606" y="35496"/>
            <a:ext cx="8865393" cy="358951"/>
          </a:xfrm>
        </p:spPr>
        <p:txBody>
          <a:bodyPr/>
          <a:lstStyle/>
          <a:p>
            <a:r>
              <a:rPr lang="it-IT" kern="0" dirty="0">
                <a:solidFill>
                  <a:srgbClr val="0047A9"/>
                </a:solidFill>
              </a:rPr>
              <a:t>Elenco </a:t>
            </a:r>
            <a:r>
              <a:rPr lang="it-IT" kern="0" dirty="0" smtClean="0">
                <a:solidFill>
                  <a:srgbClr val="0047A9"/>
                </a:solidFill>
              </a:rPr>
              <a:t>131 Centri </a:t>
            </a:r>
            <a:r>
              <a:rPr lang="it-IT" kern="0" dirty="0">
                <a:solidFill>
                  <a:srgbClr val="0047A9"/>
                </a:solidFill>
              </a:rPr>
              <a:t>di Distribuzione </a:t>
            </a:r>
            <a:r>
              <a:rPr lang="it-IT" kern="0" dirty="0" smtClean="0">
                <a:solidFill>
                  <a:srgbClr val="0047A9"/>
                </a:solidFill>
              </a:rPr>
              <a:t>attualmente abilitati</a:t>
            </a:r>
            <a:endParaRPr lang="it-IT" dirty="0"/>
          </a:p>
        </p:txBody>
      </p:sp>
      <p:sp>
        <p:nvSpPr>
          <p:cNvPr id="13" name="Rettangolo 12"/>
          <p:cNvSpPr/>
          <p:nvPr/>
        </p:nvSpPr>
        <p:spPr>
          <a:xfrm>
            <a:off x="285748" y="363027"/>
            <a:ext cx="7877175" cy="2862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685800">
              <a:lnSpc>
                <a:spcPct val="90000"/>
              </a:lnSpc>
              <a:spcBef>
                <a:spcPts val="750"/>
              </a:spcBef>
              <a:buClr>
                <a:srgbClr val="707173"/>
              </a:buClr>
              <a:buSzPct val="120000"/>
              <a:buFont typeface="Arial" panose="020B0604020202020204" pitchFamily="34" charset="0"/>
              <a:buNone/>
            </a:pPr>
            <a:r>
              <a:rPr lang="it-IT" sz="1400" cap="all" dirty="0">
                <a:solidFill>
                  <a:srgbClr val="0047BB"/>
                </a:solidFill>
              </a:rPr>
              <a:t>E potenzialmente interessati ad attività pomeridiane e il Sabato (2/2)</a:t>
            </a:r>
          </a:p>
        </p:txBody>
      </p:sp>
    </p:spTree>
    <p:extLst>
      <p:ext uri="{BB962C8B-B14F-4D97-AF65-F5344CB8AC3E}">
        <p14:creationId xmlns:p14="http://schemas.microsoft.com/office/powerpoint/2010/main" val="1906334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78607" y="35496"/>
            <a:ext cx="8623196" cy="358951"/>
          </a:xfrm>
        </p:spPr>
        <p:txBody>
          <a:bodyPr/>
          <a:lstStyle/>
          <a:p>
            <a:r>
              <a:rPr lang="it-IT" kern="0" dirty="0" smtClean="0">
                <a:solidFill>
                  <a:srgbClr val="0047A9"/>
                </a:solidFill>
              </a:rPr>
              <a:t>ESTENSIONE 167 Centri </a:t>
            </a:r>
            <a:r>
              <a:rPr lang="it-IT" kern="0" dirty="0">
                <a:solidFill>
                  <a:srgbClr val="0047A9"/>
                </a:solidFill>
              </a:rPr>
              <a:t>di Distribuzione interessati </a:t>
            </a:r>
            <a:r>
              <a:rPr lang="it-IT" kern="0" dirty="0" smtClean="0">
                <a:solidFill>
                  <a:srgbClr val="0047A9"/>
                </a:solidFill>
              </a:rPr>
              <a:t>(1/4)</a:t>
            </a:r>
            <a:r>
              <a:rPr lang="it-IT" kern="0" dirty="0">
                <a:solidFill>
                  <a:srgbClr val="FF3300"/>
                </a:solidFill>
              </a:rPr>
              <a:t/>
            </a:r>
            <a:br>
              <a:rPr lang="it-IT" kern="0" dirty="0">
                <a:solidFill>
                  <a:srgbClr val="FF3300"/>
                </a:solidFill>
              </a:rPr>
            </a:br>
            <a:endParaRPr lang="it-IT" dirty="0"/>
          </a:p>
        </p:txBody>
      </p:sp>
      <p:sp>
        <p:nvSpPr>
          <p:cNvPr id="10" name="Rettangolo 9"/>
          <p:cNvSpPr/>
          <p:nvPr/>
        </p:nvSpPr>
        <p:spPr>
          <a:xfrm>
            <a:off x="285748" y="391602"/>
            <a:ext cx="8143877" cy="2862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685800">
              <a:lnSpc>
                <a:spcPct val="90000"/>
              </a:lnSpc>
              <a:spcBef>
                <a:spcPts val="750"/>
              </a:spcBef>
              <a:buClr>
                <a:srgbClr val="707173"/>
              </a:buClr>
              <a:buSzPct val="120000"/>
              <a:buFont typeface="Arial" panose="020B0604020202020204" pitchFamily="34" charset="0"/>
              <a:buNone/>
            </a:pPr>
            <a:r>
              <a:rPr lang="it-IT" sz="1400" cap="all" dirty="0">
                <a:solidFill>
                  <a:srgbClr val="0047BB"/>
                </a:solidFill>
              </a:rPr>
              <a:t>Prossime attivazioni: potenzialmente interessati ad attività pomeridiane e il Sabato </a:t>
            </a:r>
          </a:p>
        </p:txBody>
      </p:sp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0791498"/>
              </p:ext>
            </p:extLst>
          </p:nvPr>
        </p:nvGraphicFramePr>
        <p:xfrm>
          <a:off x="456702" y="964240"/>
          <a:ext cx="3664286" cy="2164232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862185"/>
                <a:gridCol w="772533"/>
                <a:gridCol w="366238"/>
                <a:gridCol w="1663330"/>
              </a:tblGrid>
              <a:tr h="21757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AL RAM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REGIONE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PROV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CD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CENTRO 1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Tosca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F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EMPOLI RECAPIT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CENTRO 1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Tosca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A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MONTEVARCHI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CENTRO 1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Tosca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F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SESTO FIORENTINO RECAPIT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CENTRO 1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Tosca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P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PRATO RECAPITO MARTINI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CENTRO 1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Tosca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A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AREZZO RECAPITO MECENATE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CENTRO 1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Tosca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F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SCANDICCI RECAPIT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CENTRO 1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Tosca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P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PRATO RECAPITO DATINI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CENTRO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Tosca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LU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VIAREGGIO RECAPIT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CENTRO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Tosca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L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LIVORNO RECAPITO MASI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CENTRO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Tosca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L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PORTOFERRAI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CENTRO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Tosca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L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LIVORNO RECAPITO ROMIT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CENTRO 1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Umb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T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TERNI RECAPITO BRAMANTE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CENTRO 1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Umb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P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FOLIGNO RECAPIT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CENTRO 1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Umb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P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SPOLET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CENTRO 1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Umb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P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CITTA' DI CASTELL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CENTRO 1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Umb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P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GUBBI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CENTRO 1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Umb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P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+mj-lt"/>
                        </a:rPr>
                        <a:t>PERUGIA RECAPITO OVEST</a:t>
                      </a: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graphicFrame>
        <p:nvGraphicFramePr>
          <p:cNvPr id="5" name="Tabel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9331284"/>
              </p:ext>
            </p:extLst>
          </p:nvPr>
        </p:nvGraphicFramePr>
        <p:xfrm>
          <a:off x="4473991" y="955613"/>
          <a:ext cx="4316325" cy="1621672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079273"/>
                <a:gridCol w="846334"/>
                <a:gridCol w="431408"/>
                <a:gridCol w="1959310"/>
              </a:tblGrid>
              <a:tr h="234832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L RAM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REGIONE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OV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D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NORD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ilia Roma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OLA RECAPITO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NORD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ilia Roma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N GIOVANNI IN PERSICETO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NORD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ilia Roma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SSUOLO RECAPITO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NORD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ilia Roma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N GIORGIO DI PIANO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NORD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ilia Roma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O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NORD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ilia Roma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ENZA RECAPITO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NORD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ilia Roma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C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LIMPOPOLI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NORD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ilia Roma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ANDIANO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NORD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ilia Roma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C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TEL SAN GIOVANNI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NORD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ilia Roma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RREGGIO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NORD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ch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C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CERATA RECAPITO PIEDIRIPA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NORD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ch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TO SAN GIORGIO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NORD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ch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COLI PICENO RECAPITO LUCIANI</a:t>
                      </a:r>
                    </a:p>
                  </a:txBody>
                  <a:tcPr marL="0" marR="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0353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78607" y="35496"/>
            <a:ext cx="8623196" cy="358951"/>
          </a:xfrm>
        </p:spPr>
        <p:txBody>
          <a:bodyPr/>
          <a:lstStyle/>
          <a:p>
            <a:r>
              <a:rPr lang="it-IT" kern="0" dirty="0" smtClean="0">
                <a:solidFill>
                  <a:srgbClr val="0047A9"/>
                </a:solidFill>
              </a:rPr>
              <a:t>ESTENSIONE 167 Centri </a:t>
            </a:r>
            <a:r>
              <a:rPr lang="it-IT" kern="0" dirty="0">
                <a:solidFill>
                  <a:srgbClr val="0047A9"/>
                </a:solidFill>
              </a:rPr>
              <a:t>di Distribuzione interessati </a:t>
            </a:r>
            <a:r>
              <a:rPr lang="it-IT" kern="0" dirty="0" smtClean="0">
                <a:solidFill>
                  <a:srgbClr val="0047A9"/>
                </a:solidFill>
              </a:rPr>
              <a:t>(2/4)</a:t>
            </a:r>
            <a:r>
              <a:rPr lang="it-IT" kern="0" dirty="0">
                <a:solidFill>
                  <a:srgbClr val="FF3300"/>
                </a:solidFill>
              </a:rPr>
              <a:t/>
            </a:r>
            <a:br>
              <a:rPr lang="it-IT" kern="0" dirty="0">
                <a:solidFill>
                  <a:srgbClr val="FF3300"/>
                </a:solidFill>
              </a:rPr>
            </a:br>
            <a:endParaRPr lang="it-IT" dirty="0"/>
          </a:p>
        </p:txBody>
      </p:sp>
      <p:sp>
        <p:nvSpPr>
          <p:cNvPr id="10" name="Rettangolo 9"/>
          <p:cNvSpPr/>
          <p:nvPr/>
        </p:nvSpPr>
        <p:spPr>
          <a:xfrm>
            <a:off x="285748" y="391602"/>
            <a:ext cx="8143877" cy="2862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685800">
              <a:lnSpc>
                <a:spcPct val="90000"/>
              </a:lnSpc>
              <a:spcBef>
                <a:spcPts val="750"/>
              </a:spcBef>
              <a:buClr>
                <a:srgbClr val="707173"/>
              </a:buClr>
              <a:buSzPct val="120000"/>
              <a:buFont typeface="Arial" panose="020B0604020202020204" pitchFamily="34" charset="0"/>
              <a:buNone/>
            </a:pPr>
            <a:r>
              <a:rPr lang="it-IT" sz="1400" cap="all" dirty="0">
                <a:solidFill>
                  <a:srgbClr val="0047BB"/>
                </a:solidFill>
              </a:rPr>
              <a:t>Prossime attivazioni: potenzialmente interessati ad attività pomeridiane e il Sabato </a:t>
            </a:r>
          </a:p>
        </p:txBody>
      </p:sp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390165"/>
              </p:ext>
            </p:extLst>
          </p:nvPr>
        </p:nvGraphicFramePr>
        <p:xfrm>
          <a:off x="456702" y="964240"/>
          <a:ext cx="3664286" cy="3392515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862185"/>
                <a:gridCol w="772533"/>
                <a:gridCol w="366238"/>
                <a:gridCol w="1663330"/>
              </a:tblGrid>
              <a:tr h="21757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AL RAM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REGIONE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PROV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CD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IA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M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TANA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M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MEZIA RECAPIT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TERBO RECAPITO FERRONI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OSINONE RECAPITO MASCAGNI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M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GUILLARA SABAZIA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ETI RECAPITO GARIBALDI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TINA RECAPITO MAMELI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M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UIDONIA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M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LLEFERR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bruzz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AMO RECAPITO COLLE ATTERRAT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bruzz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ETI RECAPITO VIA PESCARA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lis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ERNIA RECAPITO XXIV MAGGI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lis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B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OBASSO RECAPITO SAN GIOVANNI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rde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U SANT'ELENA RECAPIT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rde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RTOLI'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rde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RBONIA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rde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GLESIAS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rde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ISTANO RECAPITO LIGURIA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rde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SSARI RECAPITO EST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rde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N GAVINO MONREALE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rde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ORO RECAPITO CRISPI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rde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LBIA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rde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SSARI RECAPITO OVEST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rde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NLURI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rde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MPIO PAUSANIA</a:t>
                      </a: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graphicFrame>
        <p:nvGraphicFramePr>
          <p:cNvPr id="5" name="Tabel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3621962"/>
              </p:ext>
            </p:extLst>
          </p:nvPr>
        </p:nvGraphicFramePr>
        <p:xfrm>
          <a:off x="4473991" y="955613"/>
          <a:ext cx="4316325" cy="2901832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079273"/>
                <a:gridCol w="846334"/>
                <a:gridCol w="431408"/>
                <a:gridCol w="1959310"/>
              </a:tblGrid>
              <a:tr h="234832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L RAM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REGIONE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OV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D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MA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MONA RECAPITO ALIGHIERI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V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ZIANO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BBIATEGRASSO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ZZO D'ADDA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LGIATE COMASCO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RBEGNO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VENO MOMBELLO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AGGIO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RANO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NDRIO RECAPITO AGNEDA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C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RZANO'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C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CCO RECAPITO LAMARMORA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STO CALENDE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UNO OLONA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ICHIARI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ZZATO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TOVA RECAPITO NENNI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VIGLIO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NTE SAN PIETRO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LMINE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BINO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INGONIA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MANO DI LOMBARDIA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mbard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BREMBO</a:t>
                      </a:r>
                    </a:p>
                  </a:txBody>
                  <a:tcPr marL="0" marR="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72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78607" y="35496"/>
            <a:ext cx="8623196" cy="358951"/>
          </a:xfrm>
        </p:spPr>
        <p:txBody>
          <a:bodyPr/>
          <a:lstStyle/>
          <a:p>
            <a:r>
              <a:rPr lang="it-IT" kern="0" dirty="0" smtClean="0">
                <a:solidFill>
                  <a:srgbClr val="0047A9"/>
                </a:solidFill>
              </a:rPr>
              <a:t>ESTENSIONE 167 Centri </a:t>
            </a:r>
            <a:r>
              <a:rPr lang="it-IT" kern="0" dirty="0">
                <a:solidFill>
                  <a:srgbClr val="0047A9"/>
                </a:solidFill>
              </a:rPr>
              <a:t>di Distribuzione interessati </a:t>
            </a:r>
            <a:r>
              <a:rPr lang="it-IT" kern="0" dirty="0" smtClean="0">
                <a:solidFill>
                  <a:srgbClr val="0047A9"/>
                </a:solidFill>
              </a:rPr>
              <a:t>(3/4)</a:t>
            </a:r>
            <a:r>
              <a:rPr lang="it-IT" kern="0" dirty="0">
                <a:solidFill>
                  <a:srgbClr val="FF3300"/>
                </a:solidFill>
              </a:rPr>
              <a:t/>
            </a:r>
            <a:br>
              <a:rPr lang="it-IT" kern="0" dirty="0">
                <a:solidFill>
                  <a:srgbClr val="FF3300"/>
                </a:solidFill>
              </a:rPr>
            </a:br>
            <a:endParaRPr lang="it-IT" dirty="0"/>
          </a:p>
        </p:txBody>
      </p:sp>
      <p:sp>
        <p:nvSpPr>
          <p:cNvPr id="10" name="Rettangolo 9"/>
          <p:cNvSpPr/>
          <p:nvPr/>
        </p:nvSpPr>
        <p:spPr>
          <a:xfrm>
            <a:off x="285748" y="391602"/>
            <a:ext cx="8143877" cy="2862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685800">
              <a:lnSpc>
                <a:spcPct val="90000"/>
              </a:lnSpc>
              <a:spcBef>
                <a:spcPts val="750"/>
              </a:spcBef>
              <a:buClr>
                <a:srgbClr val="707173"/>
              </a:buClr>
              <a:buSzPct val="120000"/>
              <a:buFont typeface="Arial" panose="020B0604020202020204" pitchFamily="34" charset="0"/>
              <a:buNone/>
            </a:pPr>
            <a:r>
              <a:rPr lang="it-IT" sz="1400" cap="all" dirty="0">
                <a:solidFill>
                  <a:srgbClr val="0047BB"/>
                </a:solidFill>
              </a:rPr>
              <a:t>Prossime attivazioni: potenzialmente interessati ad attività pomeridiane e il Sabato </a:t>
            </a:r>
          </a:p>
        </p:txBody>
      </p:sp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2037384"/>
              </p:ext>
            </p:extLst>
          </p:nvPr>
        </p:nvGraphicFramePr>
        <p:xfrm>
          <a:off x="456702" y="964240"/>
          <a:ext cx="3766466" cy="3408173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862185"/>
                <a:gridCol w="1000980"/>
                <a:gridCol w="239971"/>
                <a:gridCol w="1663330"/>
              </a:tblGrid>
              <a:tr h="21757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AL RAM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REGIONE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PROV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CD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SANO DEL GRAPPA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IENE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ISSIN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HI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D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SELICE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D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BIGNASEG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D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ODARSEG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NIG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RAN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L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VIGO RECAPITO POPOL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L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LTRE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V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TELFRANCO VENET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tino Alto Adi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VERETO RECAPIT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tino Alto Adi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Z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LZANO RECAPITO RESIA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tino Alto Adi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Z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UNIC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LLAFRANCA DI VERONA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tino Alto Adi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TO RECAPITO DOGANA BIS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RINO VERONESE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GNAG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tino Alto Adi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TO RECAPITO DOGANA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N BONIFACI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N MARTINO BUON ALBERG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SOLENG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tino Alto Adi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Z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LZANO CDM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iuli Venezia Giu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DENONE RECAPITO SANTA CATERINA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iuli Venezia Giu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RIZIA RECAPITO VERDI</a:t>
                      </a: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graphicFrame>
        <p:nvGraphicFramePr>
          <p:cNvPr id="5" name="Tabel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6059313"/>
              </p:ext>
            </p:extLst>
          </p:nvPr>
        </p:nvGraphicFramePr>
        <p:xfrm>
          <a:off x="4473991" y="955613"/>
          <a:ext cx="4316325" cy="2795152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079273"/>
                <a:gridCol w="846334"/>
                <a:gridCol w="431408"/>
                <a:gridCol w="1959310"/>
              </a:tblGrid>
              <a:tr h="234832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L RAM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REGIONE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OV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D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OV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ERI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OVEST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NEROLO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OV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NEO RECAPITO DE GASPERI BIS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OV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A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OV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BA 3 C.O.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OV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TI RECAPITO DANTE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OV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NEO RECAPITO DE GASPERI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OV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LLAFRANCA D'ASTI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OV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le d'Aost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OSTA RECAPITO RIBITEL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OVEST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le d'Aost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OSTA RECAPITO RIBITEL BIS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OVEST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B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MODOSSOLA RECAPITO MATTEOTTI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OVEST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B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RA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OVEST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ELLA RECAPITO MICCA BIS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OVEST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MBIA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OVEST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C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RCELLI RECAPITO PIAZZA NOVARA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OVEST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C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RGOSESIA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OV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gu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PALLO RECAPITO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OVEST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gu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 SPEZIA RECAPITO CRISPI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OV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gu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V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BENGA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OV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gu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ERIA RECAPITO SPONTONE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OV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gu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V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VONA RECAPITO MORO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OV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ESSANDRIA RECAPITO CURIEL BIS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OV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gu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ERIA RECAPITO SPONTONE BIS</a:t>
                      </a: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D OVEST RAM 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emont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ESSANDRIA RECAPITO CURIEL</a:t>
                      </a:r>
                    </a:p>
                  </a:txBody>
                  <a:tcPr marL="0" marR="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622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78607" y="35496"/>
            <a:ext cx="8623196" cy="358951"/>
          </a:xfrm>
        </p:spPr>
        <p:txBody>
          <a:bodyPr/>
          <a:lstStyle/>
          <a:p>
            <a:r>
              <a:rPr lang="it-IT" kern="0" dirty="0" smtClean="0">
                <a:solidFill>
                  <a:srgbClr val="0047A9"/>
                </a:solidFill>
              </a:rPr>
              <a:t>ESTENSIONE 167 Centri </a:t>
            </a:r>
            <a:r>
              <a:rPr lang="it-IT" kern="0" dirty="0">
                <a:solidFill>
                  <a:srgbClr val="0047A9"/>
                </a:solidFill>
              </a:rPr>
              <a:t>di Distribuzione interessati </a:t>
            </a:r>
            <a:r>
              <a:rPr lang="it-IT" kern="0" dirty="0" smtClean="0">
                <a:solidFill>
                  <a:srgbClr val="0047A9"/>
                </a:solidFill>
              </a:rPr>
              <a:t>(4/4)</a:t>
            </a:r>
            <a:r>
              <a:rPr lang="it-IT" kern="0" dirty="0">
                <a:solidFill>
                  <a:srgbClr val="FF3300"/>
                </a:solidFill>
              </a:rPr>
              <a:t/>
            </a:r>
            <a:br>
              <a:rPr lang="it-IT" kern="0" dirty="0">
                <a:solidFill>
                  <a:srgbClr val="FF3300"/>
                </a:solidFill>
              </a:rPr>
            </a:br>
            <a:endParaRPr lang="it-IT" dirty="0"/>
          </a:p>
        </p:txBody>
      </p:sp>
      <p:sp>
        <p:nvSpPr>
          <p:cNvPr id="10" name="Rettangolo 9"/>
          <p:cNvSpPr/>
          <p:nvPr/>
        </p:nvSpPr>
        <p:spPr>
          <a:xfrm>
            <a:off x="285748" y="391602"/>
            <a:ext cx="8143877" cy="2862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685800">
              <a:lnSpc>
                <a:spcPct val="90000"/>
              </a:lnSpc>
              <a:spcBef>
                <a:spcPts val="750"/>
              </a:spcBef>
              <a:buClr>
                <a:srgbClr val="707173"/>
              </a:buClr>
              <a:buSzPct val="120000"/>
              <a:buFont typeface="Arial" panose="020B0604020202020204" pitchFamily="34" charset="0"/>
              <a:buNone/>
            </a:pPr>
            <a:r>
              <a:rPr lang="it-IT" sz="1400" cap="all" dirty="0">
                <a:solidFill>
                  <a:srgbClr val="0047BB"/>
                </a:solidFill>
              </a:rPr>
              <a:t>Prossime attivazioni: potenzialmente interessati ad attività pomeridiane e il Sabato </a:t>
            </a:r>
          </a:p>
        </p:txBody>
      </p:sp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5488842"/>
              </p:ext>
            </p:extLst>
          </p:nvPr>
        </p:nvGraphicFramePr>
        <p:xfrm>
          <a:off x="456702" y="964240"/>
          <a:ext cx="3766466" cy="1477178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862185"/>
                <a:gridCol w="950180"/>
                <a:gridCol w="290771"/>
                <a:gridCol w="1663330"/>
              </a:tblGrid>
              <a:tr h="21757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AL RAM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REGIONE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PROV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CD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1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GGIA RECAPITO STAZIONE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1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NI RECAPIT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1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DRIA RECAPIT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1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RLETTA RECAPIT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CCE RECAPITO LEQUILE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RANTO RECAPITO SUD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ilicat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Z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TENZA RECAPITO GRIPP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ARAN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ilicat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TERA RECAPITO SCIENZA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INDISI RECAPITO CRISPI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1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g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RANTO RECAPITO NORD</a:t>
                      </a: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graphicFrame>
        <p:nvGraphicFramePr>
          <p:cNvPr id="5" name="Tabel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4244669"/>
              </p:ext>
            </p:extLst>
          </p:nvPr>
        </p:nvGraphicFramePr>
        <p:xfrm>
          <a:off x="4473991" y="955613"/>
          <a:ext cx="4316325" cy="1941712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079273"/>
                <a:gridCol w="846334"/>
                <a:gridCol w="431408"/>
                <a:gridCol w="1959310"/>
              </a:tblGrid>
              <a:tr h="234832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L RAM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REGIONE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OV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D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TO D'ISCHIA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ZZUOLI RECAPITO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ANO DI NAPOLI RECAPITO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RI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NEVENTO RECAPITO COLONNA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ERTA RECAPITO ELLITTICO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ELLINO RECAPITO DE SANCTIS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n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ERSA RECAPITO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lab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Z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ANZARO RECAPITO STAZIONE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lab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C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GGIO CALABRIA RECAPITO SUD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lab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C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GGIO CALABRIA RECAPITO NORD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lab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OTONE RECAPITO PATERNOSTRO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lab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Z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MEZIA TERME RECAPITO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lab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GES DI RENDE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lab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SENZA RECAPITO VENETO</a:t>
                      </a:r>
                    </a:p>
                  </a:txBody>
                  <a:tcPr marL="0" marR="0" marT="0" marB="0" anchor="b"/>
                </a:tc>
              </a:tr>
              <a:tr h="96488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labr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V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BO VALENTIA RECAPITO RAZZA</a:t>
                      </a: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graphicFrame>
        <p:nvGraphicFramePr>
          <p:cNvPr id="7" name="Tabel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2530376"/>
              </p:ext>
            </p:extLst>
          </p:nvPr>
        </p:nvGraphicFramePr>
        <p:xfrm>
          <a:off x="456702" y="3013173"/>
          <a:ext cx="3766466" cy="1232502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862185"/>
                <a:gridCol w="950180"/>
                <a:gridCol w="290771"/>
                <a:gridCol w="1663330"/>
              </a:tblGrid>
              <a:tr h="21757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AL RAM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REGIONE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PROV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CD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2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ci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GUSA RECAPITO ERCOLANO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2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ci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LTANISSETTA RECAPITO LEONE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2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ci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RACUSA RECAPITO PANAGIA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2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ci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NA RECAPITO BARONESSA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2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ci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SINA RECAPITO VIA OLIMPIA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2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ci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SINA RECAPITO PISTUNINA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2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ci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P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PANI RECAPITO PLATAMONE</a:t>
                      </a: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D 2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cili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RIGENTO RECAPITO SAN BENEDETTO</a:t>
                      </a:r>
                    </a:p>
                  </a:txBody>
                  <a:tcPr marL="0" marR="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7332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78607" y="35496"/>
            <a:ext cx="8623196" cy="358951"/>
          </a:xfrm>
        </p:spPr>
        <p:txBody>
          <a:bodyPr/>
          <a:lstStyle/>
          <a:p>
            <a:r>
              <a:rPr lang="it-IT" kern="0" dirty="0" smtClean="0">
                <a:solidFill>
                  <a:srgbClr val="0047A9"/>
                </a:solidFill>
              </a:rPr>
              <a:t>ESTENSIONE 349 Centri </a:t>
            </a:r>
            <a:r>
              <a:rPr lang="it-IT" kern="0" dirty="0">
                <a:solidFill>
                  <a:srgbClr val="0047A9"/>
                </a:solidFill>
              </a:rPr>
              <a:t>di Distribuzione interessati </a:t>
            </a:r>
            <a:r>
              <a:rPr lang="it-IT" kern="0" dirty="0" smtClean="0">
                <a:solidFill>
                  <a:srgbClr val="0047A9"/>
                </a:solidFill>
              </a:rPr>
              <a:t>(1/6)</a:t>
            </a:r>
            <a:r>
              <a:rPr lang="it-IT" kern="0" dirty="0">
                <a:solidFill>
                  <a:srgbClr val="FF3300"/>
                </a:solidFill>
              </a:rPr>
              <a:t/>
            </a:r>
            <a:br>
              <a:rPr lang="it-IT" kern="0" dirty="0">
                <a:solidFill>
                  <a:srgbClr val="FF3300"/>
                </a:solidFill>
              </a:rPr>
            </a:br>
            <a:endParaRPr lang="it-IT" dirty="0"/>
          </a:p>
        </p:txBody>
      </p:sp>
      <p:sp>
        <p:nvSpPr>
          <p:cNvPr id="10" name="Rettangolo 9"/>
          <p:cNvSpPr/>
          <p:nvPr/>
        </p:nvSpPr>
        <p:spPr>
          <a:xfrm>
            <a:off x="285748" y="391602"/>
            <a:ext cx="8143877" cy="2862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685800">
              <a:lnSpc>
                <a:spcPct val="90000"/>
              </a:lnSpc>
              <a:spcBef>
                <a:spcPts val="750"/>
              </a:spcBef>
              <a:buClr>
                <a:srgbClr val="707173"/>
              </a:buClr>
              <a:buSzPct val="120000"/>
              <a:buFont typeface="Arial" panose="020B0604020202020204" pitchFamily="34" charset="0"/>
              <a:buNone/>
            </a:pPr>
            <a:r>
              <a:rPr lang="it-IT" sz="1400" cap="all" dirty="0">
                <a:solidFill>
                  <a:srgbClr val="0047BB"/>
                </a:solidFill>
              </a:rPr>
              <a:t>Periodo di picco: potenzialmente interessati ad attività pomeridiane e il Sabato </a:t>
            </a:r>
          </a:p>
        </p:txBody>
      </p:sp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2721381"/>
              </p:ext>
            </p:extLst>
          </p:nvPr>
        </p:nvGraphicFramePr>
        <p:xfrm>
          <a:off x="456702" y="964240"/>
          <a:ext cx="3664286" cy="3652849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862185"/>
                <a:gridCol w="772533"/>
                <a:gridCol w="366238"/>
                <a:gridCol w="1663330"/>
              </a:tblGrid>
              <a:tr h="21757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AL RAM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REGIONE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PROV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CD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1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scana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NALUNG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1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scana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RGO SAN LORENZO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1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scana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GNO A RIPOLI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1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scana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GGIBONSI A.D.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1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scana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NTASSIEVE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1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sca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RBERINO DI MUGELLO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1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sca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VARNELLE VAL DI PES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1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sca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GLINE VALDARNO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1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sca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BADIA SAN SALVATORE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1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sca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BBIENA STAZIONE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1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sca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MUCIA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1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sca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NSEPOLCRO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2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scana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U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PANNORI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2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scana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U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IETRASANT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2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sca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I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NTA CROCE SULL'ARNO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2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sca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IOMBINO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2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sca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I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SCINA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2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scana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I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NTEDERA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2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sca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BETELLO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2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sca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S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LLA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2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sca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LLONICA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2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sca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CINA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2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sca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SIGNANO SOLVAY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3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mbri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VIETO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3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mbri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RNI STAZIONE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3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mbri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G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SISI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3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mbri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G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GIONE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3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mbri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G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DI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3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mbri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G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MBERTIDE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1450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1 RAM 3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mbri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G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SCIANO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graphicFrame>
        <p:nvGraphicFramePr>
          <p:cNvPr id="5" name="Tabel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2710068"/>
              </p:ext>
            </p:extLst>
          </p:nvPr>
        </p:nvGraphicFramePr>
        <p:xfrm>
          <a:off x="4473991" y="955613"/>
          <a:ext cx="4316325" cy="4715392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079273"/>
                <a:gridCol w="846334"/>
                <a:gridCol w="431408"/>
                <a:gridCol w="1959310"/>
              </a:tblGrid>
              <a:tr h="234832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AL RAM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REGIONE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PROV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CD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96488"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1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MIGINE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1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GNOL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1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DRIO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1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STELFRANCO EMILI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1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SALECCHIO DI RENO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1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RANDOL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1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ZOLA DELL'EMILI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1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OLA PREDOS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2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N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NT'ARCANGELO DI ROMAG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2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N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CCIONE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2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C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VIGNANO SUL RUBICONE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2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N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TTOLIC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2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UGO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2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RVI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2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C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SENATICO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2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GENT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2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PPARO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2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DIGORO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2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ACCHIO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3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LSOMAGGIORE TERME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3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BBIANO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3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C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DENZANO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3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LECCHIO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3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UASTALL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3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N SECONDO PARMENSE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3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VELLAR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3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C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ORENZUOLA D'ARD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3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ORNO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3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NOVO DI TARO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3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ILASTRO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3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lia Romagna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STELNOVO DI SOTTO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4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che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NO RECAPITO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4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che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RBINO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4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che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N BENEDETTO DEL TRONTO RECAPITO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4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che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ESI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4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che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C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N SEVERINO MARCHE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4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che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BRIANO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4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che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IMO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4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che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LCONARA MARITTIMA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4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che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C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TENZA PICENA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4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che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NIGALLIA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101194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O NORD RAM 4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che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</a:t>
                      </a:r>
                      <a:endParaRPr lang="it-IT" sz="7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RINALDO</a:t>
                      </a:r>
                      <a:endParaRPr lang="it-IT" sz="7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71842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5131247"/>
              </p:ext>
            </p:extLst>
          </p:nvPr>
        </p:nvGraphicFramePr>
        <p:xfrm>
          <a:off x="285748" y="1026540"/>
          <a:ext cx="4467407" cy="5260809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091750"/>
                <a:gridCol w="978227"/>
                <a:gridCol w="463752"/>
                <a:gridCol w="1933678"/>
              </a:tblGrid>
              <a:tr h="250167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AL RAM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REGIONE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>
                          <a:solidFill>
                            <a:schemeClr val="tx2"/>
                          </a:solidFill>
                          <a:effectLst/>
                        </a:rPr>
                        <a:t>PROV</a:t>
                      </a:r>
                      <a:endParaRPr lang="it-IT" sz="700" b="1" i="0" u="none" strike="noStrike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CD</a:t>
                      </a:r>
                      <a:endParaRPr lang="it-IT" sz="7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M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ANO ROMANO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M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IVITAVECCHIA RECAPITO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M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BANO LAZIALE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M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IAMPINO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NTECORVO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M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UMICINO RECAPITO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NCIGLIONE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M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LLETRI RECAPITO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GGIO MIRTETO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RACINA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IA RECAPITO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IVITA CASTELLANA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M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DISPOLI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M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VOLI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M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ASCATI CENTRO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M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TTAFERRATA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SINO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EFIASCONE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RENTINO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RQUINIA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M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AGAROLO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NDI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M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IACO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VERNO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M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LESTRINA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M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LOMBARA SABINA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zi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BAUDIA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bruzz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Q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LMONA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bruzz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ESILVANO SPIAGGIA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bruzzo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STO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rde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SEMINI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rde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ASTIR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rde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ZACHENA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rde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TO TORRES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rde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OTERRA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rde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GHERO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rde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RALBA</a:t>
                      </a:r>
                    </a:p>
                  </a:txBody>
                  <a:tcPr marL="0" marR="0" marT="0" marB="0" anchor="b"/>
                </a:tc>
              </a:tr>
              <a:tr h="131859"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O RAM 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rdegn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0" u="none" strike="noStrike" dirty="0">
                          <a:solidFill>
                            <a:srgbClr val="706F6E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NORBI'</a:t>
                      </a: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sp>
        <p:nvSpPr>
          <p:cNvPr id="13" name="Titolo 1"/>
          <p:cNvSpPr>
            <a:spLocks noGrp="1"/>
          </p:cNvSpPr>
          <p:nvPr>
            <p:ph type="title"/>
          </p:nvPr>
        </p:nvSpPr>
        <p:spPr>
          <a:xfrm>
            <a:off x="278607" y="35496"/>
            <a:ext cx="8623196" cy="358951"/>
          </a:xfrm>
        </p:spPr>
        <p:txBody>
          <a:bodyPr/>
          <a:lstStyle/>
          <a:p>
            <a:r>
              <a:rPr lang="it-IT" kern="0" dirty="0" smtClean="0">
                <a:solidFill>
                  <a:srgbClr val="0047A9"/>
                </a:solidFill>
              </a:rPr>
              <a:t>ESTENSIONE </a:t>
            </a:r>
            <a:r>
              <a:rPr lang="it-IT" kern="0" dirty="0">
                <a:solidFill>
                  <a:srgbClr val="0047A9"/>
                </a:solidFill>
              </a:rPr>
              <a:t>349 </a:t>
            </a:r>
            <a:r>
              <a:rPr lang="it-IT" kern="0" dirty="0" smtClean="0">
                <a:solidFill>
                  <a:srgbClr val="0047A9"/>
                </a:solidFill>
              </a:rPr>
              <a:t>Centri </a:t>
            </a:r>
            <a:r>
              <a:rPr lang="it-IT" kern="0" dirty="0">
                <a:solidFill>
                  <a:srgbClr val="0047A9"/>
                </a:solidFill>
              </a:rPr>
              <a:t>di Distribuzione interessati </a:t>
            </a:r>
            <a:r>
              <a:rPr lang="it-IT" kern="0" dirty="0" smtClean="0">
                <a:solidFill>
                  <a:srgbClr val="0047A9"/>
                </a:solidFill>
              </a:rPr>
              <a:t>(2/6)</a:t>
            </a:r>
            <a:r>
              <a:rPr lang="it-IT" kern="0" dirty="0">
                <a:solidFill>
                  <a:srgbClr val="FF3300"/>
                </a:solidFill>
              </a:rPr>
              <a:t/>
            </a:r>
            <a:br>
              <a:rPr lang="it-IT" kern="0" dirty="0">
                <a:solidFill>
                  <a:srgbClr val="FF3300"/>
                </a:solidFill>
              </a:rPr>
            </a:br>
            <a:endParaRPr lang="it-IT" dirty="0"/>
          </a:p>
        </p:txBody>
      </p:sp>
      <p:sp>
        <p:nvSpPr>
          <p:cNvPr id="14" name="Rettangolo 13"/>
          <p:cNvSpPr/>
          <p:nvPr/>
        </p:nvSpPr>
        <p:spPr>
          <a:xfrm>
            <a:off x="285748" y="410652"/>
            <a:ext cx="7877175" cy="2862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685800">
              <a:lnSpc>
                <a:spcPct val="90000"/>
              </a:lnSpc>
              <a:spcBef>
                <a:spcPts val="750"/>
              </a:spcBef>
              <a:buClr>
                <a:srgbClr val="707173"/>
              </a:buClr>
              <a:buSzPct val="120000"/>
              <a:buFont typeface="Arial" panose="020B0604020202020204" pitchFamily="34" charset="0"/>
              <a:buNone/>
            </a:pPr>
            <a:r>
              <a:rPr lang="it-IT" sz="1400" cap="all" dirty="0">
                <a:solidFill>
                  <a:srgbClr val="0047BB"/>
                </a:solidFill>
              </a:rPr>
              <a:t>Periodo di picco: potenzialmente interessati ad attività pomeridiane e il Sabato </a:t>
            </a:r>
          </a:p>
        </p:txBody>
      </p:sp>
    </p:spTree>
    <p:extLst>
      <p:ext uri="{BB962C8B-B14F-4D97-AF65-F5344CB8AC3E}">
        <p14:creationId xmlns:p14="http://schemas.microsoft.com/office/powerpoint/2010/main" val="300518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Poste">
  <a:themeElements>
    <a:clrScheme name="Poste">
      <a:dk1>
        <a:srgbClr val="706F6F"/>
      </a:dk1>
      <a:lt1>
        <a:sysClr val="window" lastClr="FFFFFF"/>
      </a:lt1>
      <a:dk2>
        <a:srgbClr val="0047BB"/>
      </a:dk2>
      <a:lt2>
        <a:srgbClr val="E7E6E6"/>
      </a:lt2>
      <a:accent1>
        <a:srgbClr val="EEDC00"/>
      </a:accent1>
      <a:accent2>
        <a:srgbClr val="0047BB"/>
      </a:accent2>
      <a:accent3>
        <a:srgbClr val="706F6F"/>
      </a:accent3>
      <a:accent4>
        <a:srgbClr val="C0C0C0"/>
      </a:accent4>
      <a:accent5>
        <a:srgbClr val="00B0F0"/>
      </a:accent5>
      <a:accent6>
        <a:srgbClr val="0070C0"/>
      </a:accent6>
      <a:hlink>
        <a:srgbClr val="0047BB"/>
      </a:hlink>
      <a:folHlink>
        <a:srgbClr val="002060"/>
      </a:folHlink>
    </a:clrScheme>
    <a:fontScheme name="Pos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Tema Poste" id="{0A4B8638-53E6-4A94-8E22-F8D99DB4BEB6}" vid="{4DA813B9-AA7B-4999-BBA6-A0FC37714231}"/>
    </a:ext>
  </a:extLst>
</a:theme>
</file>

<file path=ppt/theme/theme2.xml><?xml version="1.0" encoding="utf-8"?>
<a:theme xmlns:a="http://schemas.openxmlformats.org/drawingml/2006/main" name="2_Tema Poste">
  <a:themeElements>
    <a:clrScheme name="Poste">
      <a:dk1>
        <a:srgbClr val="706F6F"/>
      </a:dk1>
      <a:lt1>
        <a:sysClr val="window" lastClr="FFFFFF"/>
      </a:lt1>
      <a:dk2>
        <a:srgbClr val="0047BB"/>
      </a:dk2>
      <a:lt2>
        <a:srgbClr val="E7E6E6"/>
      </a:lt2>
      <a:accent1>
        <a:srgbClr val="EEDC00"/>
      </a:accent1>
      <a:accent2>
        <a:srgbClr val="0047BB"/>
      </a:accent2>
      <a:accent3>
        <a:srgbClr val="706F6F"/>
      </a:accent3>
      <a:accent4>
        <a:srgbClr val="C0C0C0"/>
      </a:accent4>
      <a:accent5>
        <a:srgbClr val="00B0F0"/>
      </a:accent5>
      <a:accent6>
        <a:srgbClr val="0070C0"/>
      </a:accent6>
      <a:hlink>
        <a:srgbClr val="0047BB"/>
      </a:hlink>
      <a:folHlink>
        <a:srgbClr val="002060"/>
      </a:folHlink>
    </a:clrScheme>
    <a:fontScheme name="Pos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Tema Poste" id="{0A4B8638-53E6-4A94-8E22-F8D99DB4BEB6}" vid="{4DA813B9-AA7B-4999-BBA6-A0FC37714231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</TotalTime>
  <Words>5483</Words>
  <Application>Microsoft Office PowerPoint</Application>
  <PresentationFormat>Presentazione su schermo (4:3)</PresentationFormat>
  <Paragraphs>2715</Paragraphs>
  <Slides>13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3</vt:i4>
      </vt:variant>
    </vt:vector>
  </HeadingPairs>
  <TitlesOfParts>
    <vt:vector size="16" baseType="lpstr">
      <vt:lpstr>Tema Poste</vt:lpstr>
      <vt:lpstr>2_Tema Poste</vt:lpstr>
      <vt:lpstr>Diapositiva think-cell</vt:lpstr>
      <vt:lpstr> Accordo 4 agosto 2017 – Allegato 3 RECAPITO E LAVORAZIONI INTERNE</vt:lpstr>
      <vt:lpstr>Elenco 131 Centri di Distribuzione attualmente abilitati</vt:lpstr>
      <vt:lpstr>Elenco 131 Centri di Distribuzione attualmente abilitati</vt:lpstr>
      <vt:lpstr>ESTENSIONE 167 Centri di Distribuzione interessati (1/4) </vt:lpstr>
      <vt:lpstr>ESTENSIONE 167 Centri di Distribuzione interessati (2/4) </vt:lpstr>
      <vt:lpstr>ESTENSIONE 167 Centri di Distribuzione interessati (3/4) </vt:lpstr>
      <vt:lpstr>ESTENSIONE 167 Centri di Distribuzione interessati (4/4) </vt:lpstr>
      <vt:lpstr>ESTENSIONE 349 Centri di Distribuzione interessati (1/6) </vt:lpstr>
      <vt:lpstr>ESTENSIONE 349 Centri di Distribuzione interessati (2/6) </vt:lpstr>
      <vt:lpstr>ESTENSIONE 349 Centri di Distribuzione interessati (3/6) </vt:lpstr>
      <vt:lpstr>ESTENSIONE 349 Centri di Distribuzione interessati (4/6) </vt:lpstr>
      <vt:lpstr>ESTENSIONE 349 Centri di Distribuzione interessati (5/6) </vt:lpstr>
      <vt:lpstr>ESTENSIONE 349 Centri di Distribuzione interessati (6/6) </vt:lpstr>
    </vt:vector>
  </TitlesOfParts>
  <Company>Poste Italian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cordo XXX – Allegato 1 SMISTAMENTO</dc:title>
  <dc:creator>Poste Italiane</dc:creator>
  <cp:lastModifiedBy>Admin</cp:lastModifiedBy>
  <cp:revision>8</cp:revision>
  <cp:lastPrinted>2017-07-24T18:54:32Z</cp:lastPrinted>
  <dcterms:created xsi:type="dcterms:W3CDTF">2017-07-24T17:40:23Z</dcterms:created>
  <dcterms:modified xsi:type="dcterms:W3CDTF">2017-08-08T10:28:20Z</dcterms:modified>
</cp:coreProperties>
</file>